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48" r:id="rId1"/>
  </p:sldMasterIdLst>
  <p:notesMasterIdLst>
    <p:notesMasterId r:id="rId10"/>
  </p:notesMasterIdLst>
  <p:handoutMasterIdLst>
    <p:handoutMasterId r:id="rId11"/>
  </p:handoutMasterIdLst>
  <p:sldIdLst>
    <p:sldId id="345" r:id="rId2"/>
    <p:sldId id="347" r:id="rId3"/>
    <p:sldId id="348" r:id="rId4"/>
    <p:sldId id="349" r:id="rId5"/>
    <p:sldId id="350" r:id="rId6"/>
    <p:sldId id="351" r:id="rId7"/>
    <p:sldId id="352" r:id="rId8"/>
    <p:sldId id="346" r:id="rId9"/>
  </p:sldIdLst>
  <p:sldSz cx="9144000" cy="5143500" type="screen16x9"/>
  <p:notesSz cx="6858000" cy="9926638"/>
  <p:embeddedFontLst>
    <p:embeddedFont>
      <p:font typeface="arial unicode ms" panose="020B0604020202020204" pitchFamily="34" charset="-128"/>
      <p:regular r:id="rId12"/>
    </p:embeddedFont>
    <p:embeddedFont>
      <p:font typeface="UniCredit" panose="02000506040000020004" pitchFamily="2" charset="0"/>
      <p:regular r:id="rId13"/>
      <p:bold r:id="rId14"/>
      <p:italic r:id="rId15"/>
      <p:boldItalic r:id="rId16"/>
    </p:embeddedFont>
    <p:embeddedFont>
      <p:font typeface="ＭＳ Ｐゴシック" panose="020B0600070205080204" pitchFamily="34" charset="-128"/>
      <p:regular r:id="rId17"/>
    </p:embeddedFont>
  </p:embeddedFontLst>
  <p:defaultTex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03">
          <p15:clr>
            <a:srgbClr val="A4A3A4"/>
          </p15:clr>
        </p15:guide>
        <p15:guide id="2" orient="horz" pos="3124">
          <p15:clr>
            <a:srgbClr val="A4A3A4"/>
          </p15:clr>
        </p15:guide>
        <p15:guide id="3" orient="horz" pos="2252">
          <p15:clr>
            <a:srgbClr val="A4A3A4"/>
          </p15:clr>
        </p15:guide>
        <p15:guide id="4" orient="horz" pos="2972">
          <p15:clr>
            <a:srgbClr val="A4A3A4"/>
          </p15:clr>
        </p15:guide>
        <p15:guide id="5" orient="horz" pos="2068">
          <p15:clr>
            <a:srgbClr val="A4A3A4"/>
          </p15:clr>
        </p15:guide>
        <p15:guide id="6" pos="5558">
          <p15:clr>
            <a:srgbClr val="A4A3A4"/>
          </p15:clr>
        </p15:guide>
        <p15:guide id="7" pos="5639">
          <p15:clr>
            <a:srgbClr val="A4A3A4"/>
          </p15:clr>
        </p15:guide>
        <p15:guide id="8" pos="2880">
          <p15:clr>
            <a:srgbClr val="A4A3A4"/>
          </p15:clr>
        </p15:guide>
        <p15:guide id="9" pos="166">
          <p15:clr>
            <a:srgbClr val="A4A3A4"/>
          </p15:clr>
        </p15:guide>
        <p15:guide id="10" pos="3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clrMode="bw"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FD0"/>
    <a:srgbClr val="0C34DE"/>
    <a:srgbClr val="61B4FF"/>
    <a:srgbClr val="E1061C"/>
    <a:srgbClr val="000000"/>
    <a:srgbClr val="999999"/>
    <a:srgbClr val="CD061C"/>
    <a:srgbClr val="00A197"/>
    <a:srgbClr val="5DFFFF"/>
    <a:srgbClr val="FFFFD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0" autoAdjust="0"/>
    <p:restoredTop sz="94709" autoAdjust="0"/>
  </p:normalViewPr>
  <p:slideViewPr>
    <p:cSldViewPr snapToGrid="0" snapToObjects="1" showGuides="1">
      <p:cViewPr>
        <p:scale>
          <a:sx n="130" d="100"/>
          <a:sy n="130" d="100"/>
        </p:scale>
        <p:origin x="-324" y="-234"/>
      </p:cViewPr>
      <p:guideLst>
        <p:guide orient="horz" pos="203"/>
        <p:guide orient="horz" pos="3124"/>
        <p:guide orient="horz" pos="2252"/>
        <p:guide orient="horz" pos="2972"/>
        <p:guide orient="horz" pos="2068"/>
        <p:guide pos="5558"/>
        <p:guide pos="5639"/>
        <p:guide pos="2880"/>
        <p:guide pos="166"/>
        <p:guide pos="336"/>
        <p:guide pos="2471"/>
        <p:guide pos="465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2.fntdata"/><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font" Target="fonts/font1.fntdata"/><Relationship Id="rId17" Type="http://schemas.openxmlformats.org/officeDocument/2006/relationships/font" Target="fonts/font6.fntdata"/><Relationship Id="rId2" Type="http://schemas.openxmlformats.org/officeDocument/2006/relationships/slide" Target="slides/slide1.xml"/><Relationship Id="rId16" Type="http://schemas.openxmlformats.org/officeDocument/2006/relationships/font" Target="fonts/font5.fntdata"/><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font" Target="fonts/font4.fntdata"/><Relationship Id="rId10" Type="http://schemas.openxmlformats.org/officeDocument/2006/relationships/notesMaster" Target="notesMasters/notesMaster1.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3.fntdata"/></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807175629497181"/>
          <c:y val="0.1139179335444106"/>
          <c:w val="0.7663978471693057"/>
          <c:h val="0.70983318096473891"/>
        </c:manualLayout>
      </c:layout>
      <c:barChart>
        <c:barDir val="col"/>
        <c:grouping val="clustered"/>
        <c:varyColors val="0"/>
        <c:ser>
          <c:idx val="0"/>
          <c:order val="0"/>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spPr>
              <a:solidFill>
                <a:srgbClr val="FF0000"/>
              </a:solidFill>
            </c:spPr>
          </c:dPt>
          <c:dPt>
            <c:idx val="8"/>
            <c:invertIfNegative val="0"/>
            <c:bubble3D val="0"/>
          </c:dPt>
          <c:dPt>
            <c:idx val="9"/>
            <c:invertIfNegative val="0"/>
            <c:bubble3D val="0"/>
          </c:dPt>
          <c:dPt>
            <c:idx val="10"/>
            <c:invertIfNegative val="0"/>
            <c:bubble3D val="0"/>
          </c:dPt>
          <c:dPt>
            <c:idx val="11"/>
            <c:invertIfNegative val="0"/>
            <c:bubble3D val="0"/>
          </c:dPt>
          <c:dPt>
            <c:idx val="12"/>
            <c:invertIfNegative val="0"/>
            <c:bubble3D val="0"/>
          </c:dPt>
          <c:dPt>
            <c:idx val="13"/>
            <c:invertIfNegative val="0"/>
            <c:bubble3D val="0"/>
          </c:dPt>
          <c:dPt>
            <c:idx val="14"/>
            <c:invertIfNegative val="0"/>
            <c:bubble3D val="0"/>
          </c:dPt>
          <c:dPt>
            <c:idx val="15"/>
            <c:invertIfNegative val="0"/>
            <c:bubble3D val="0"/>
          </c:dPt>
          <c:dLbls>
            <c:dLbl>
              <c:idx val="0"/>
              <c:layout/>
              <c:tx>
                <c:rich>
                  <a:bodyPr/>
                  <a:lstStyle/>
                  <a:p>
                    <a:r>
                      <a:rPr lang="en-US" dirty="0" smtClean="0"/>
                      <a:t>28.9</a:t>
                    </a:r>
                    <a:endParaRPr lang="en-US" dirty="0"/>
                  </a:p>
                </c:rich>
              </c:tx>
              <c:showLegendKey val="0"/>
              <c:showVal val="1"/>
              <c:showCatName val="0"/>
              <c:showSerName val="0"/>
              <c:showPercent val="0"/>
              <c:showBubbleSize val="0"/>
            </c:dLbl>
            <c:dLbl>
              <c:idx val="1"/>
              <c:layout/>
              <c:tx>
                <c:rich>
                  <a:bodyPr/>
                  <a:lstStyle/>
                  <a:p>
                    <a:r>
                      <a:rPr lang="en-US" dirty="0" smtClean="0"/>
                      <a:t>23.5</a:t>
                    </a:r>
                    <a:endParaRPr lang="en-US" dirty="0"/>
                  </a:p>
                </c:rich>
              </c:tx>
              <c:showLegendKey val="0"/>
              <c:showVal val="1"/>
              <c:showCatName val="0"/>
              <c:showSerName val="0"/>
              <c:showPercent val="0"/>
              <c:showBubbleSize val="0"/>
            </c:dLbl>
            <c:dLbl>
              <c:idx val="2"/>
              <c:layout/>
              <c:tx>
                <c:rich>
                  <a:bodyPr/>
                  <a:lstStyle/>
                  <a:p>
                    <a:r>
                      <a:rPr lang="en-US" dirty="0" smtClean="0"/>
                      <a:t>20.3</a:t>
                    </a:r>
                    <a:endParaRPr lang="en-US" dirty="0"/>
                  </a:p>
                </c:rich>
              </c:tx>
              <c:showLegendKey val="0"/>
              <c:showVal val="1"/>
              <c:showCatName val="0"/>
              <c:showSerName val="0"/>
              <c:showPercent val="0"/>
              <c:showBubbleSize val="0"/>
            </c:dLbl>
            <c:dLbl>
              <c:idx val="3"/>
              <c:layout/>
              <c:tx>
                <c:rich>
                  <a:bodyPr/>
                  <a:lstStyle/>
                  <a:p>
                    <a:r>
                      <a:rPr lang="en-US" dirty="0" smtClean="0"/>
                      <a:t>14.5</a:t>
                    </a:r>
                    <a:endParaRPr lang="en-US" dirty="0"/>
                  </a:p>
                </c:rich>
              </c:tx>
              <c:showLegendKey val="0"/>
              <c:showVal val="1"/>
              <c:showCatName val="0"/>
              <c:showSerName val="0"/>
              <c:showPercent val="0"/>
              <c:showBubbleSize val="0"/>
            </c:dLbl>
            <c:dLbl>
              <c:idx val="4"/>
              <c:layout/>
              <c:tx>
                <c:rich>
                  <a:bodyPr/>
                  <a:lstStyle/>
                  <a:p>
                    <a:r>
                      <a:rPr lang="en-US" dirty="0" smtClean="0"/>
                      <a:t>12.3</a:t>
                    </a:r>
                    <a:endParaRPr lang="en-US" dirty="0"/>
                  </a:p>
                </c:rich>
              </c:tx>
              <c:showLegendKey val="0"/>
              <c:showVal val="1"/>
              <c:showCatName val="0"/>
              <c:showSerName val="0"/>
              <c:showPercent val="0"/>
              <c:showBubbleSize val="0"/>
            </c:dLbl>
            <c:dLbl>
              <c:idx val="5"/>
              <c:layout/>
              <c:tx>
                <c:rich>
                  <a:bodyPr/>
                  <a:lstStyle/>
                  <a:p>
                    <a:r>
                      <a:rPr lang="en-US" dirty="0" smtClean="0"/>
                      <a:t>10.8</a:t>
                    </a:r>
                    <a:endParaRPr lang="en-US" dirty="0"/>
                  </a:p>
                </c:rich>
              </c:tx>
              <c:showLegendKey val="0"/>
              <c:showVal val="1"/>
              <c:showCatName val="0"/>
              <c:showSerName val="0"/>
              <c:showPercent val="0"/>
              <c:showBubbleSize val="0"/>
            </c:dLbl>
            <c:dLbl>
              <c:idx val="6"/>
              <c:layout/>
              <c:tx>
                <c:rich>
                  <a:bodyPr/>
                  <a:lstStyle/>
                  <a:p>
                    <a:r>
                      <a:rPr lang="en-US" dirty="0" smtClean="0"/>
                      <a:t>10.0</a:t>
                    </a:r>
                    <a:endParaRPr lang="en-US" dirty="0"/>
                  </a:p>
                </c:rich>
              </c:tx>
              <c:showLegendKey val="0"/>
              <c:showVal val="1"/>
              <c:showCatName val="0"/>
              <c:showSerName val="0"/>
              <c:showPercent val="0"/>
              <c:showBubbleSize val="0"/>
            </c:dLbl>
            <c:dLbl>
              <c:idx val="7"/>
              <c:layout/>
              <c:tx>
                <c:rich>
                  <a:bodyPr/>
                  <a:lstStyle/>
                  <a:p>
                    <a:r>
                      <a:rPr lang="en-US" dirty="0" smtClean="0"/>
                      <a:t>9.2</a:t>
                    </a:r>
                    <a:endParaRPr lang="en-US" dirty="0"/>
                  </a:p>
                </c:rich>
              </c:tx>
              <c:showLegendKey val="0"/>
              <c:showVal val="1"/>
              <c:showCatName val="0"/>
              <c:showSerName val="0"/>
              <c:showPercent val="0"/>
              <c:showBubbleSize val="0"/>
            </c:dLbl>
            <c:dLbl>
              <c:idx val="8"/>
              <c:layout/>
              <c:tx>
                <c:rich>
                  <a:bodyPr/>
                  <a:lstStyle/>
                  <a:p>
                    <a:r>
                      <a:rPr lang="en-US" dirty="0" smtClean="0"/>
                      <a:t>8.9</a:t>
                    </a:r>
                    <a:endParaRPr lang="en-US" dirty="0"/>
                  </a:p>
                </c:rich>
              </c:tx>
              <c:showLegendKey val="0"/>
              <c:showVal val="1"/>
              <c:showCatName val="0"/>
              <c:showSerName val="0"/>
              <c:showPercent val="0"/>
              <c:showBubbleSize val="0"/>
            </c:dLbl>
            <c:dLbl>
              <c:idx val="9"/>
              <c:layout/>
              <c:tx>
                <c:rich>
                  <a:bodyPr/>
                  <a:lstStyle/>
                  <a:p>
                    <a:r>
                      <a:rPr lang="en-US" dirty="0" smtClean="0"/>
                      <a:t>8.7</a:t>
                    </a:r>
                    <a:endParaRPr lang="en-US" dirty="0"/>
                  </a:p>
                </c:rich>
              </c:tx>
              <c:showLegendKey val="0"/>
              <c:showVal val="1"/>
              <c:showCatName val="0"/>
              <c:showSerName val="0"/>
              <c:showPercent val="0"/>
              <c:showBubbleSize val="0"/>
            </c:dLbl>
            <c:dLbl>
              <c:idx val="10"/>
              <c:layout/>
              <c:tx>
                <c:rich>
                  <a:bodyPr/>
                  <a:lstStyle/>
                  <a:p>
                    <a:r>
                      <a:rPr lang="en-US" dirty="0" smtClean="0"/>
                      <a:t>8.6</a:t>
                    </a:r>
                    <a:endParaRPr lang="en-US" dirty="0"/>
                  </a:p>
                </c:rich>
              </c:tx>
              <c:showLegendKey val="0"/>
              <c:showVal val="1"/>
              <c:showCatName val="0"/>
              <c:showSerName val="0"/>
              <c:showPercent val="0"/>
              <c:showBubbleSize val="0"/>
            </c:dLbl>
            <c:dLbl>
              <c:idx val="11"/>
              <c:layout/>
              <c:tx>
                <c:rich>
                  <a:bodyPr/>
                  <a:lstStyle/>
                  <a:p>
                    <a:r>
                      <a:rPr lang="en-US" dirty="0" smtClean="0"/>
                      <a:t>8.0</a:t>
                    </a:r>
                    <a:endParaRPr lang="en-US" dirty="0"/>
                  </a:p>
                </c:rich>
              </c:tx>
              <c:showLegendKey val="0"/>
              <c:showVal val="1"/>
              <c:showCatName val="0"/>
              <c:showSerName val="0"/>
              <c:showPercent val="0"/>
              <c:showBubbleSize val="0"/>
            </c:dLbl>
            <c:dLbl>
              <c:idx val="12"/>
              <c:layout/>
              <c:tx>
                <c:rich>
                  <a:bodyPr/>
                  <a:lstStyle/>
                  <a:p>
                    <a:r>
                      <a:rPr lang="en-US" dirty="0" smtClean="0"/>
                      <a:t>2.6</a:t>
                    </a:r>
                    <a:endParaRPr lang="en-US" dirty="0"/>
                  </a:p>
                </c:rich>
              </c:tx>
              <c:showLegendKey val="0"/>
              <c:showVal val="1"/>
              <c:showCatName val="0"/>
              <c:showSerName val="0"/>
              <c:showPercent val="0"/>
              <c:showBubbleSize val="0"/>
            </c:dLbl>
            <c:dLbl>
              <c:idx val="13"/>
              <c:layout/>
              <c:tx>
                <c:rich>
                  <a:bodyPr/>
                  <a:lstStyle/>
                  <a:p>
                    <a:r>
                      <a:rPr lang="en-US" dirty="0" smtClean="0"/>
                      <a:t>1.6</a:t>
                    </a:r>
                    <a:endParaRPr lang="en-US" dirty="0"/>
                  </a:p>
                </c:rich>
              </c:tx>
              <c:showLegendKey val="0"/>
              <c:showVal val="1"/>
              <c:showCatName val="0"/>
              <c:showSerName val="0"/>
              <c:showPercent val="0"/>
              <c:showBubbleSize val="0"/>
            </c:dLbl>
            <c:dLbl>
              <c:idx val="14"/>
              <c:tx>
                <c:rich>
                  <a:bodyPr/>
                  <a:lstStyle/>
                  <a:p>
                    <a:r>
                      <a:rPr lang="en-US" dirty="0" smtClean="0"/>
                      <a:t>1.7</a:t>
                    </a:r>
                    <a:endParaRPr lang="en-US" dirty="0"/>
                  </a:p>
                </c:rich>
              </c:tx>
              <c:showLegendKey val="0"/>
              <c:showVal val="1"/>
              <c:showCatName val="0"/>
              <c:showSerName val="0"/>
              <c:showPercent val="0"/>
              <c:showBubbleSize val="0"/>
            </c:dLbl>
            <c:numFmt formatCode="@" sourceLinked="0"/>
            <c:txPr>
              <a:bodyPr/>
              <a:lstStyle/>
              <a:p>
                <a:pPr>
                  <a:defRPr sz="1400" b="1" i="0" baseline="0"/>
                </a:pPr>
                <a:endParaRPr lang="en-US"/>
              </a:p>
            </c:txPr>
            <c:showLegendKey val="0"/>
            <c:showVal val="1"/>
            <c:showCatName val="0"/>
            <c:showSerName val="0"/>
            <c:showPercent val="0"/>
            <c:showBubbleSize val="0"/>
            <c:showLeaderLines val="0"/>
          </c:dLbls>
          <c:cat>
            <c:strRef>
              <c:f>Foglio1!$A$1:$A$14</c:f>
              <c:strCache>
                <c:ptCount val="14"/>
                <c:pt idx="0">
                  <c:v>Croatia</c:v>
                </c:pt>
                <c:pt idx="1">
                  <c:v>Bosnia-H.</c:v>
                </c:pt>
                <c:pt idx="2">
                  <c:v>Bulgaria</c:v>
                </c:pt>
                <c:pt idx="3">
                  <c:v>Austria</c:v>
                </c:pt>
                <c:pt idx="4">
                  <c:v>Italy</c:v>
                </c:pt>
                <c:pt idx="5">
                  <c:v>Serbia</c:v>
                </c:pt>
                <c:pt idx="6">
                  <c:v>Turkey</c:v>
                </c:pt>
                <c:pt idx="7">
                  <c:v>Romania</c:v>
                </c:pt>
                <c:pt idx="8">
                  <c:v>Hungary</c:v>
                </c:pt>
                <c:pt idx="9">
                  <c:v>Czech Republic</c:v>
                </c:pt>
                <c:pt idx="10">
                  <c:v>Slovakia</c:v>
                </c:pt>
                <c:pt idx="11">
                  <c:v>Slovenia</c:v>
                </c:pt>
                <c:pt idx="12">
                  <c:v>Germany</c:v>
                </c:pt>
                <c:pt idx="13">
                  <c:v>Russia</c:v>
                </c:pt>
              </c:strCache>
            </c:strRef>
          </c:cat>
          <c:val>
            <c:numRef>
              <c:f>Foglio1!$B$1:$B$14</c:f>
              <c:numCache>
                <c:formatCode>0.0</c:formatCode>
                <c:ptCount val="14"/>
                <c:pt idx="0">
                  <c:v>28.9</c:v>
                </c:pt>
                <c:pt idx="1">
                  <c:v>23.5</c:v>
                </c:pt>
                <c:pt idx="2">
                  <c:v>20.3</c:v>
                </c:pt>
                <c:pt idx="3">
                  <c:v>14.5</c:v>
                </c:pt>
                <c:pt idx="4">
                  <c:v>12.3</c:v>
                </c:pt>
                <c:pt idx="5">
                  <c:v>10.8</c:v>
                </c:pt>
                <c:pt idx="6">
                  <c:v>10</c:v>
                </c:pt>
                <c:pt idx="7">
                  <c:v>9.1999999999999993</c:v>
                </c:pt>
                <c:pt idx="8">
                  <c:v>8.9</c:v>
                </c:pt>
                <c:pt idx="9">
                  <c:v>8.6999999999999993</c:v>
                </c:pt>
                <c:pt idx="10">
                  <c:v>8.6</c:v>
                </c:pt>
                <c:pt idx="11">
                  <c:v>8</c:v>
                </c:pt>
                <c:pt idx="12">
                  <c:v>2.6</c:v>
                </c:pt>
                <c:pt idx="13">
                  <c:v>1.6</c:v>
                </c:pt>
              </c:numCache>
            </c:numRef>
          </c:val>
        </c:ser>
        <c:dLbls>
          <c:showLegendKey val="0"/>
          <c:showVal val="0"/>
          <c:showCatName val="0"/>
          <c:showSerName val="0"/>
          <c:showPercent val="0"/>
          <c:showBubbleSize val="0"/>
        </c:dLbls>
        <c:gapWidth val="150"/>
        <c:axId val="376219136"/>
        <c:axId val="376220672"/>
      </c:barChart>
      <c:catAx>
        <c:axId val="376219136"/>
        <c:scaling>
          <c:orientation val="minMax"/>
        </c:scaling>
        <c:delete val="0"/>
        <c:axPos val="b"/>
        <c:majorTickMark val="out"/>
        <c:minorTickMark val="none"/>
        <c:tickLblPos val="low"/>
        <c:txPr>
          <a:bodyPr/>
          <a:lstStyle/>
          <a:p>
            <a:pPr>
              <a:defRPr sz="1200"/>
            </a:pPr>
            <a:endParaRPr lang="en-US"/>
          </a:p>
        </c:txPr>
        <c:crossAx val="376220672"/>
        <c:crosses val="autoZero"/>
        <c:auto val="1"/>
        <c:lblAlgn val="ctr"/>
        <c:lblOffset val="100"/>
        <c:noMultiLvlLbl val="0"/>
      </c:catAx>
      <c:valAx>
        <c:axId val="376220672"/>
        <c:scaling>
          <c:orientation val="minMax"/>
        </c:scaling>
        <c:delete val="0"/>
        <c:axPos val="l"/>
        <c:numFmt formatCode="0.0" sourceLinked="1"/>
        <c:majorTickMark val="out"/>
        <c:minorTickMark val="none"/>
        <c:tickLblPos val="nextTo"/>
        <c:txPr>
          <a:bodyPr/>
          <a:lstStyle/>
          <a:p>
            <a:pPr>
              <a:defRPr sz="1400"/>
            </a:pPr>
            <a:endParaRPr lang="en-US"/>
          </a:p>
        </c:txPr>
        <c:crossAx val="376219136"/>
        <c:crosses val="autoZero"/>
        <c:crossBetween val="between"/>
      </c:valAx>
      <c:spPr>
        <a:noFill/>
        <a:ln w="25400">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12184</cdr:x>
      <cdr:y>0</cdr:y>
    </cdr:from>
    <cdr:to>
      <cdr:x>0.95149</cdr:x>
      <cdr:y>0.06922</cdr:y>
    </cdr:to>
    <cdr:sp macro="" textlink="">
      <cdr:nvSpPr>
        <cdr:cNvPr id="3" name="CasellaDiTesto 2"/>
        <cdr:cNvSpPr txBox="1"/>
      </cdr:nvSpPr>
      <cdr:spPr>
        <a:xfrm xmlns:a="http://schemas.openxmlformats.org/drawingml/2006/main">
          <a:off x="1250314" y="0"/>
          <a:ext cx="8513446" cy="338554"/>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endParaRPr lang="en-US" sz="1600" dirty="0"/>
        </a:p>
      </cdr:txBody>
    </cdr:sp>
  </cdr:relSizeAnchor>
  <cdr:relSizeAnchor xmlns:cdr="http://schemas.openxmlformats.org/drawingml/2006/chartDrawing">
    <cdr:from>
      <cdr:x>0.11554</cdr:x>
      <cdr:y>0.00426</cdr:y>
    </cdr:from>
    <cdr:to>
      <cdr:x>0.96234</cdr:x>
      <cdr:y>0.07977</cdr:y>
    </cdr:to>
    <cdr:sp macro="" textlink="">
      <cdr:nvSpPr>
        <cdr:cNvPr id="23" name="CasellaDiTesto 22"/>
        <cdr:cNvSpPr txBox="1"/>
      </cdr:nvSpPr>
      <cdr:spPr>
        <a:xfrm xmlns:a="http://schemas.openxmlformats.org/drawingml/2006/main">
          <a:off x="1205581" y="20836"/>
          <a:ext cx="8835783" cy="369326"/>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ctr"/>
          <a:r>
            <a:rPr lang="en-US" sz="1800" b="1" dirty="0" smtClean="0">
              <a:solidFill>
                <a:srgbClr val="FFFFFF"/>
              </a:solidFill>
              <a:latin typeface="UniCredit" pitchFamily="50" charset="0"/>
            </a:rPr>
            <a:t>Cota de piata in ceea ce priveste totalul imprumuturilor acordate*</a:t>
          </a:r>
          <a:endParaRPr lang="en-US" sz="1800" b="1" baseline="30000" dirty="0">
            <a:solidFill>
              <a:srgbClr val="FFFFFF"/>
            </a:solidFill>
            <a:latin typeface="UniCredit" pitchFamily="50"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1"/>
            <a:ext cx="2971800" cy="496332"/>
          </a:xfrm>
          <a:prstGeom prst="rect">
            <a:avLst/>
          </a:prstGeom>
        </p:spPr>
        <p:txBody>
          <a:bodyPr vert="horz" lIns="95908" tIns="47954" rIns="95908" bIns="47954" rtlCol="0"/>
          <a:lstStyle>
            <a:lvl1pPr algn="l">
              <a:defRPr sz="1300"/>
            </a:lvl1pPr>
          </a:lstStyle>
          <a:p>
            <a:endParaRPr lang="en-GB" dirty="0">
              <a:latin typeface="UniCredit"/>
            </a:endParaRPr>
          </a:p>
        </p:txBody>
      </p:sp>
      <p:sp>
        <p:nvSpPr>
          <p:cNvPr id="3" name="Segnaposto data 2"/>
          <p:cNvSpPr>
            <a:spLocks noGrp="1"/>
          </p:cNvSpPr>
          <p:nvPr>
            <p:ph type="dt" sz="quarter" idx="1"/>
          </p:nvPr>
        </p:nvSpPr>
        <p:spPr>
          <a:xfrm>
            <a:off x="3884613" y="1"/>
            <a:ext cx="2971800" cy="496332"/>
          </a:xfrm>
          <a:prstGeom prst="rect">
            <a:avLst/>
          </a:prstGeom>
        </p:spPr>
        <p:txBody>
          <a:bodyPr vert="horz" lIns="95908" tIns="47954" rIns="95908" bIns="47954" rtlCol="0"/>
          <a:lstStyle>
            <a:lvl1pPr algn="r">
              <a:defRPr sz="1300"/>
            </a:lvl1pPr>
          </a:lstStyle>
          <a:p>
            <a:fld id="{F37F00A6-155A-6E4A-BF0B-C3193F7B3A28}" type="datetimeFigureOut">
              <a:rPr lang="it-IT" smtClean="0">
                <a:latin typeface="UniCredit"/>
              </a:rPr>
              <a:pPr/>
              <a:t>26/05/2017</a:t>
            </a:fld>
            <a:endParaRPr lang="en-GB" dirty="0">
              <a:latin typeface="UniCredit"/>
            </a:endParaRPr>
          </a:p>
        </p:txBody>
      </p:sp>
      <p:sp>
        <p:nvSpPr>
          <p:cNvPr id="4" name="Segnaposto piè di pagina 3"/>
          <p:cNvSpPr>
            <a:spLocks noGrp="1"/>
          </p:cNvSpPr>
          <p:nvPr>
            <p:ph type="ftr" sz="quarter" idx="2"/>
          </p:nvPr>
        </p:nvSpPr>
        <p:spPr>
          <a:xfrm>
            <a:off x="0" y="9428584"/>
            <a:ext cx="2971800" cy="496332"/>
          </a:xfrm>
          <a:prstGeom prst="rect">
            <a:avLst/>
          </a:prstGeom>
        </p:spPr>
        <p:txBody>
          <a:bodyPr vert="horz" lIns="95908" tIns="47954" rIns="95908" bIns="47954" rtlCol="0" anchor="b"/>
          <a:lstStyle>
            <a:lvl1pPr algn="l">
              <a:defRPr sz="1300"/>
            </a:lvl1pPr>
          </a:lstStyle>
          <a:p>
            <a:endParaRPr lang="en-GB" dirty="0">
              <a:latin typeface="UniCredit"/>
            </a:endParaRPr>
          </a:p>
        </p:txBody>
      </p:sp>
      <p:sp>
        <p:nvSpPr>
          <p:cNvPr id="5" name="Segnaposto numero diapositiva 4"/>
          <p:cNvSpPr>
            <a:spLocks noGrp="1"/>
          </p:cNvSpPr>
          <p:nvPr>
            <p:ph type="sldNum" sz="quarter" idx="3"/>
          </p:nvPr>
        </p:nvSpPr>
        <p:spPr>
          <a:xfrm>
            <a:off x="3884613" y="9428584"/>
            <a:ext cx="2971800" cy="496332"/>
          </a:xfrm>
          <a:prstGeom prst="rect">
            <a:avLst/>
          </a:prstGeom>
        </p:spPr>
        <p:txBody>
          <a:bodyPr vert="horz" lIns="95908" tIns="47954" rIns="95908" bIns="47954" rtlCol="0" anchor="b"/>
          <a:lstStyle>
            <a:lvl1pPr algn="r">
              <a:defRPr sz="1300"/>
            </a:lvl1pPr>
          </a:lstStyle>
          <a:p>
            <a:fld id="{74D7749E-6FD4-054C-B125-6F223B528008}" type="slidenum">
              <a:rPr lang="en-GB" smtClean="0">
                <a:latin typeface="UniCredit"/>
              </a:rPr>
              <a:pPr/>
              <a:t>‹#›</a:t>
            </a:fld>
            <a:endParaRPr lang="en-GB" dirty="0">
              <a:latin typeface="UniCredit"/>
            </a:endParaRPr>
          </a:p>
        </p:txBody>
      </p:sp>
    </p:spTree>
    <p:extLst>
      <p:ext uri="{BB962C8B-B14F-4D97-AF65-F5344CB8AC3E}">
        <p14:creationId xmlns:p14="http://schemas.microsoft.com/office/powerpoint/2010/main" val="226361020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1"/>
            <a:ext cx="2971800" cy="496332"/>
          </a:xfrm>
          <a:prstGeom prst="rect">
            <a:avLst/>
          </a:prstGeom>
        </p:spPr>
        <p:txBody>
          <a:bodyPr vert="horz" lIns="95908" tIns="47954" rIns="95908" bIns="47954" rtlCol="0"/>
          <a:lstStyle>
            <a:lvl1pPr algn="l">
              <a:defRPr sz="1300">
                <a:latin typeface="UniCredit"/>
              </a:defRPr>
            </a:lvl1pPr>
          </a:lstStyle>
          <a:p>
            <a:endParaRPr lang="en-GB" dirty="0"/>
          </a:p>
        </p:txBody>
      </p:sp>
      <p:sp>
        <p:nvSpPr>
          <p:cNvPr id="3" name="Segnaposto data 2"/>
          <p:cNvSpPr>
            <a:spLocks noGrp="1"/>
          </p:cNvSpPr>
          <p:nvPr>
            <p:ph type="dt" idx="1"/>
          </p:nvPr>
        </p:nvSpPr>
        <p:spPr>
          <a:xfrm>
            <a:off x="3884613" y="1"/>
            <a:ext cx="2971800" cy="496332"/>
          </a:xfrm>
          <a:prstGeom prst="rect">
            <a:avLst/>
          </a:prstGeom>
        </p:spPr>
        <p:txBody>
          <a:bodyPr vert="horz" lIns="95908" tIns="47954" rIns="95908" bIns="47954" rtlCol="0"/>
          <a:lstStyle>
            <a:lvl1pPr algn="r">
              <a:defRPr sz="1300">
                <a:latin typeface="UniCredit"/>
              </a:defRPr>
            </a:lvl1pPr>
          </a:lstStyle>
          <a:p>
            <a:fld id="{1B529B0E-304D-D34E-98C3-2D2B57153184}" type="datetimeFigureOut">
              <a:rPr lang="it-IT" smtClean="0"/>
              <a:pPr/>
              <a:t>26/05/2017</a:t>
            </a:fld>
            <a:endParaRPr lang="en-GB" dirty="0"/>
          </a:p>
        </p:txBody>
      </p:sp>
      <p:sp>
        <p:nvSpPr>
          <p:cNvPr id="4" name="Segnaposto immagine diapositiva 3"/>
          <p:cNvSpPr>
            <a:spLocks noGrp="1" noRot="1" noChangeAspect="1"/>
          </p:cNvSpPr>
          <p:nvPr>
            <p:ph type="sldImg" idx="2"/>
          </p:nvPr>
        </p:nvSpPr>
        <p:spPr>
          <a:xfrm>
            <a:off x="120650" y="744538"/>
            <a:ext cx="6616700" cy="3722687"/>
          </a:xfrm>
          <a:prstGeom prst="rect">
            <a:avLst/>
          </a:prstGeom>
          <a:noFill/>
          <a:ln w="12700">
            <a:solidFill>
              <a:prstClr val="black"/>
            </a:solidFill>
          </a:ln>
        </p:spPr>
        <p:txBody>
          <a:bodyPr vert="horz" lIns="95908" tIns="47954" rIns="95908" bIns="47954" rtlCol="0" anchor="ctr"/>
          <a:lstStyle/>
          <a:p>
            <a:endParaRPr lang="en-GB" dirty="0"/>
          </a:p>
        </p:txBody>
      </p:sp>
      <p:sp>
        <p:nvSpPr>
          <p:cNvPr id="5" name="Segnaposto note 4"/>
          <p:cNvSpPr>
            <a:spLocks noGrp="1"/>
          </p:cNvSpPr>
          <p:nvPr>
            <p:ph type="body" sz="quarter" idx="3"/>
          </p:nvPr>
        </p:nvSpPr>
        <p:spPr>
          <a:xfrm>
            <a:off x="685800" y="4715153"/>
            <a:ext cx="5486400" cy="4466987"/>
          </a:xfrm>
          <a:prstGeom prst="rect">
            <a:avLst/>
          </a:prstGeom>
        </p:spPr>
        <p:txBody>
          <a:bodyPr vert="horz" lIns="95908" tIns="47954" rIns="95908" bIns="47954" rtlCol="0"/>
          <a:lstStyle/>
          <a:p>
            <a:pPr lvl="0"/>
            <a:r>
              <a:rPr lang="it-IT" dirty="0" smtClean="0"/>
              <a:t>Fare clic per modificare gli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6" name="Segnaposto piè di pagina 5"/>
          <p:cNvSpPr>
            <a:spLocks noGrp="1"/>
          </p:cNvSpPr>
          <p:nvPr>
            <p:ph type="ftr" sz="quarter" idx="4"/>
          </p:nvPr>
        </p:nvSpPr>
        <p:spPr>
          <a:xfrm>
            <a:off x="0" y="9428584"/>
            <a:ext cx="2971800" cy="496332"/>
          </a:xfrm>
          <a:prstGeom prst="rect">
            <a:avLst/>
          </a:prstGeom>
        </p:spPr>
        <p:txBody>
          <a:bodyPr vert="horz" lIns="95908" tIns="47954" rIns="95908" bIns="47954" rtlCol="0" anchor="b"/>
          <a:lstStyle>
            <a:lvl1pPr algn="l">
              <a:defRPr sz="1300">
                <a:latin typeface="UniCredit"/>
              </a:defRPr>
            </a:lvl1pPr>
          </a:lstStyle>
          <a:p>
            <a:endParaRPr lang="en-GB" dirty="0"/>
          </a:p>
        </p:txBody>
      </p:sp>
      <p:sp>
        <p:nvSpPr>
          <p:cNvPr id="7" name="Segnaposto numero diapositiva 6"/>
          <p:cNvSpPr>
            <a:spLocks noGrp="1"/>
          </p:cNvSpPr>
          <p:nvPr>
            <p:ph type="sldNum" sz="quarter" idx="5"/>
          </p:nvPr>
        </p:nvSpPr>
        <p:spPr>
          <a:xfrm>
            <a:off x="3884613" y="9428584"/>
            <a:ext cx="2971800" cy="496332"/>
          </a:xfrm>
          <a:prstGeom prst="rect">
            <a:avLst/>
          </a:prstGeom>
        </p:spPr>
        <p:txBody>
          <a:bodyPr vert="horz" lIns="95908" tIns="47954" rIns="95908" bIns="47954" rtlCol="0" anchor="b"/>
          <a:lstStyle>
            <a:lvl1pPr algn="r">
              <a:defRPr sz="1300">
                <a:latin typeface="UniCredit"/>
              </a:defRPr>
            </a:lvl1pPr>
          </a:lstStyle>
          <a:p>
            <a:fld id="{7324B4B6-CBA5-1244-B8EA-AE20083886B8}" type="slidenum">
              <a:rPr lang="en-GB" smtClean="0"/>
              <a:pPr/>
              <a:t>‹#›</a:t>
            </a:fld>
            <a:endParaRPr lang="en-GB" dirty="0"/>
          </a:p>
        </p:txBody>
      </p:sp>
    </p:spTree>
    <p:extLst>
      <p:ext uri="{BB962C8B-B14F-4D97-AF65-F5344CB8AC3E}">
        <p14:creationId xmlns:p14="http://schemas.microsoft.com/office/powerpoint/2010/main" val="157956913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UniCredit"/>
        <a:ea typeface="+mn-ea"/>
        <a:cs typeface="+mn-cs"/>
      </a:defRPr>
    </a:lvl1pPr>
    <a:lvl2pPr marL="457200" algn="l" defTabSz="457200" rtl="0" eaLnBrk="1" latinLnBrk="0" hangingPunct="1">
      <a:defRPr sz="1200" kern="1200">
        <a:solidFill>
          <a:schemeClr val="tx1"/>
        </a:solidFill>
        <a:latin typeface="UniCredit"/>
        <a:ea typeface="+mn-ea"/>
        <a:cs typeface="+mn-cs"/>
      </a:defRPr>
    </a:lvl2pPr>
    <a:lvl3pPr marL="914400" algn="l" defTabSz="457200" rtl="0" eaLnBrk="1" latinLnBrk="0" hangingPunct="1">
      <a:defRPr sz="1200" kern="1200">
        <a:solidFill>
          <a:schemeClr val="tx1"/>
        </a:solidFill>
        <a:latin typeface="UniCredit"/>
        <a:ea typeface="+mn-ea"/>
        <a:cs typeface="+mn-cs"/>
      </a:defRPr>
    </a:lvl3pPr>
    <a:lvl4pPr marL="1371600" algn="l" defTabSz="457200" rtl="0" eaLnBrk="1" latinLnBrk="0" hangingPunct="1">
      <a:defRPr sz="1200" kern="1200">
        <a:solidFill>
          <a:schemeClr val="tx1"/>
        </a:solidFill>
        <a:latin typeface="UniCredit"/>
        <a:ea typeface="+mn-ea"/>
        <a:cs typeface="+mn-cs"/>
      </a:defRPr>
    </a:lvl4pPr>
    <a:lvl5pPr marL="1828800" algn="l" defTabSz="457200" rtl="0" eaLnBrk="1" latinLnBrk="0" hangingPunct="1">
      <a:defRPr sz="1200" kern="1200">
        <a:solidFill>
          <a:schemeClr val="tx1"/>
        </a:solidFill>
        <a:latin typeface="UniCredi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650"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B4B6-CBA5-1244-B8EA-AE20083886B8}" type="slidenum">
              <a:rPr lang="en-GB" smtClean="0"/>
              <a:pPr/>
              <a:t>4</a:t>
            </a:fld>
            <a:endParaRPr lang="en-GB" dirty="0"/>
          </a:p>
        </p:txBody>
      </p:sp>
    </p:spTree>
    <p:extLst>
      <p:ext uri="{BB962C8B-B14F-4D97-AF65-F5344CB8AC3E}">
        <p14:creationId xmlns:p14="http://schemas.microsoft.com/office/powerpoint/2010/main" val="1913632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650"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B4B6-CBA5-1244-B8EA-AE20083886B8}" type="slidenum">
              <a:rPr lang="en-GB" smtClean="0"/>
              <a:pPr/>
              <a:t>5</a:t>
            </a:fld>
            <a:endParaRPr lang="en-GB" dirty="0"/>
          </a:p>
        </p:txBody>
      </p:sp>
    </p:spTree>
    <p:extLst>
      <p:ext uri="{BB962C8B-B14F-4D97-AF65-F5344CB8AC3E}">
        <p14:creationId xmlns:p14="http://schemas.microsoft.com/office/powerpoint/2010/main" val="717523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650"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B4B6-CBA5-1244-B8EA-AE20083886B8}" type="slidenum">
              <a:rPr lang="en-GB" smtClean="0"/>
              <a:pPr/>
              <a:t>6</a:t>
            </a:fld>
            <a:endParaRPr lang="en-GB" dirty="0"/>
          </a:p>
        </p:txBody>
      </p:sp>
    </p:spTree>
    <p:extLst>
      <p:ext uri="{BB962C8B-B14F-4D97-AF65-F5344CB8AC3E}">
        <p14:creationId xmlns:p14="http://schemas.microsoft.com/office/powerpoint/2010/main" val="7175232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650"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B4B6-CBA5-1244-B8EA-AE20083886B8}" type="slidenum">
              <a:rPr lang="en-GB" smtClean="0"/>
              <a:pPr/>
              <a:t>7</a:t>
            </a:fld>
            <a:endParaRPr lang="en-GB" dirty="0"/>
          </a:p>
        </p:txBody>
      </p:sp>
    </p:spTree>
    <p:extLst>
      <p:ext uri="{BB962C8B-B14F-4D97-AF65-F5344CB8AC3E}">
        <p14:creationId xmlns:p14="http://schemas.microsoft.com/office/powerpoint/2010/main" val="19136325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Text Only">
    <p:bg>
      <p:bgPr>
        <a:solidFill>
          <a:schemeClr val="bg1"/>
        </a:solidFill>
        <a:effectLst/>
      </p:bgPr>
    </p:bg>
    <p:spTree>
      <p:nvGrpSpPr>
        <p:cNvPr id="1" name=""/>
        <p:cNvGrpSpPr/>
        <p:nvPr/>
      </p:nvGrpSpPr>
      <p:grpSpPr>
        <a:xfrm>
          <a:off x="0" y="0"/>
          <a:ext cx="0" cy="0"/>
          <a:chOff x="0" y="0"/>
          <a:chExt cx="0" cy="0"/>
        </a:xfrm>
      </p:grpSpPr>
      <p:sp>
        <p:nvSpPr>
          <p:cNvPr id="10" name="Rettangolo 9"/>
          <p:cNvSpPr/>
          <p:nvPr userDrawn="1"/>
        </p:nvSpPr>
        <p:spPr bwMode="ltGray">
          <a:xfrm>
            <a:off x="0" y="2890363"/>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77221" tIns="38611" rIns="77221" bIns="38611" numCol="1" rtlCol="0" anchor="t" anchorCtr="0" compatLnSpc="1">
            <a:prstTxWarp prst="textNoShape">
              <a:avLst/>
            </a:prstTxWarp>
          </a:bodyPr>
          <a:lstStyle/>
          <a:p>
            <a:pPr marL="0" marR="0" indent="0" algn="l" defTabSz="772211" rtl="0" eaLnBrk="0" fontAlgn="base" latinLnBrk="0" hangingPunct="0">
              <a:lnSpc>
                <a:spcPct val="100000"/>
              </a:lnSpc>
              <a:spcBef>
                <a:spcPct val="0"/>
              </a:spcBef>
              <a:spcAft>
                <a:spcPct val="0"/>
              </a:spcAft>
              <a:buClrTx/>
              <a:buSzTx/>
              <a:buFontTx/>
              <a:buNone/>
              <a:tabLst/>
            </a:pPr>
            <a:endParaRPr kumimoji="0" lang="it-IT" sz="1000" b="0" i="0" u="sng" strike="noStrike" cap="none" normalizeH="0" baseline="0" dirty="0">
              <a:ln>
                <a:noFill/>
              </a:ln>
              <a:solidFill>
                <a:schemeClr val="tx1"/>
              </a:solidFill>
              <a:effectLst/>
              <a:latin typeface="UniCredit"/>
              <a:ea typeface="UniCredit"/>
              <a:cs typeface="UniCredit"/>
            </a:endParaRPr>
          </a:p>
        </p:txBody>
      </p:sp>
      <p:sp>
        <p:nvSpPr>
          <p:cNvPr id="27" name="Segnaposto testo 26"/>
          <p:cNvSpPr>
            <a:spLocks noGrp="1"/>
          </p:cNvSpPr>
          <p:nvPr>
            <p:ph type="body" sz="quarter" idx="13" hasCustomPrompt="1"/>
          </p:nvPr>
        </p:nvSpPr>
        <p:spPr>
          <a:xfrm>
            <a:off x="540000" y="2115996"/>
            <a:ext cx="8286350" cy="626333"/>
          </a:xfrm>
        </p:spPr>
        <p:txBody>
          <a:bodyPr anchor="b" anchorCtr="0">
            <a:noAutofit/>
          </a:bodyPr>
          <a:lstStyle>
            <a:lvl1pPr marL="0" indent="0">
              <a:lnSpc>
                <a:spcPts val="2600"/>
              </a:lnSpc>
              <a:spcBef>
                <a:spcPts val="0"/>
              </a:spcBef>
              <a:buFontTx/>
              <a:buNone/>
              <a:defRPr sz="2600" baseline="0"/>
            </a:lvl1pPr>
          </a:lstStyle>
          <a:p>
            <a:pPr lvl="0"/>
            <a:r>
              <a:rPr lang="it-IT" dirty="0" err="1" smtClean="0"/>
              <a:t>Insert</a:t>
            </a:r>
            <a:r>
              <a:rPr lang="it-IT" dirty="0" smtClean="0"/>
              <a:t> </a:t>
            </a:r>
            <a:r>
              <a:rPr lang="it-IT" dirty="0" err="1" smtClean="0"/>
              <a:t>subtitle</a:t>
            </a:r>
            <a:endParaRPr lang="en-GB" dirty="0"/>
          </a:p>
        </p:txBody>
      </p:sp>
      <p:sp>
        <p:nvSpPr>
          <p:cNvPr id="28" name="Segnaposto testo 26"/>
          <p:cNvSpPr>
            <a:spLocks noGrp="1"/>
          </p:cNvSpPr>
          <p:nvPr>
            <p:ph type="body" sz="quarter" idx="14" hasCustomPrompt="1"/>
          </p:nvPr>
        </p:nvSpPr>
        <p:spPr>
          <a:xfrm>
            <a:off x="540000" y="3104721"/>
            <a:ext cx="5040000" cy="208800"/>
          </a:xfrm>
        </p:spPr>
        <p:txBody>
          <a:bodyPr anchor="t" anchorCtr="0">
            <a:noAutofit/>
          </a:bodyPr>
          <a:lstStyle>
            <a:lvl1pPr marL="0" indent="0">
              <a:lnSpc>
                <a:spcPct val="100000"/>
              </a:lnSpc>
              <a:spcBef>
                <a:spcPts val="0"/>
              </a:spcBef>
              <a:buFontTx/>
              <a:buNone/>
              <a:defRPr sz="1400" b="1" i="0" baseline="0">
                <a:latin typeface="UniCredit"/>
              </a:defRPr>
            </a:lvl1pPr>
          </a:lstStyle>
          <a:p>
            <a:pPr lvl="0"/>
            <a:r>
              <a:rPr lang="it-IT" dirty="0" err="1" smtClean="0"/>
              <a:t>Insert</a:t>
            </a:r>
            <a:r>
              <a:rPr lang="it-IT" dirty="0" smtClean="0"/>
              <a:t> </a:t>
            </a:r>
            <a:r>
              <a:rPr lang="it-IT" dirty="0" err="1" smtClean="0"/>
              <a:t>name</a:t>
            </a:r>
            <a:r>
              <a:rPr lang="it-IT" dirty="0" smtClean="0"/>
              <a:t> and </a:t>
            </a:r>
            <a:r>
              <a:rPr lang="it-IT" dirty="0" err="1" smtClean="0"/>
              <a:t>function</a:t>
            </a:r>
            <a:endParaRPr lang="en-GB" dirty="0"/>
          </a:p>
        </p:txBody>
      </p:sp>
      <p:sp>
        <p:nvSpPr>
          <p:cNvPr id="29" name="Segnaposto testo 26"/>
          <p:cNvSpPr>
            <a:spLocks noGrp="1"/>
          </p:cNvSpPr>
          <p:nvPr>
            <p:ph type="body" sz="quarter" idx="15" hasCustomPrompt="1"/>
          </p:nvPr>
        </p:nvSpPr>
        <p:spPr>
          <a:xfrm>
            <a:off x="540001" y="3396696"/>
            <a:ext cx="5039999" cy="208800"/>
          </a:xfrm>
        </p:spPr>
        <p:txBody>
          <a:bodyPr anchor="b" anchorCtr="0">
            <a:noAutofit/>
          </a:bodyPr>
          <a:lstStyle>
            <a:lvl1pPr marL="0" indent="0">
              <a:lnSpc>
                <a:spcPct val="100000"/>
              </a:lnSpc>
              <a:spcBef>
                <a:spcPts val="0"/>
              </a:spcBef>
              <a:buFontTx/>
              <a:buNone/>
              <a:defRPr sz="1200" b="1" i="0" baseline="0">
                <a:latin typeface="UniCredit"/>
              </a:defRPr>
            </a:lvl1pPr>
          </a:lstStyle>
          <a:p>
            <a:pPr lvl="0"/>
            <a:r>
              <a:rPr lang="it-IT" dirty="0" err="1" smtClean="0"/>
              <a:t>Insert</a:t>
            </a:r>
            <a:r>
              <a:rPr lang="it-IT" dirty="0" smtClean="0"/>
              <a:t> city and date</a:t>
            </a:r>
            <a:endParaRPr lang="en-GB" dirty="0"/>
          </a:p>
        </p:txBody>
      </p:sp>
      <p:sp>
        <p:nvSpPr>
          <p:cNvPr id="31" name="Segnaposto testo 30"/>
          <p:cNvSpPr>
            <a:spLocks noGrp="1"/>
          </p:cNvSpPr>
          <p:nvPr>
            <p:ph type="body" sz="quarter" idx="16" hasCustomPrompt="1"/>
          </p:nvPr>
        </p:nvSpPr>
        <p:spPr>
          <a:xfrm>
            <a:off x="540000" y="670323"/>
            <a:ext cx="6663344" cy="1368027"/>
          </a:xfrm>
        </p:spPr>
        <p:txBody>
          <a:bodyPr>
            <a:noAutofit/>
          </a:bodyPr>
          <a:lstStyle>
            <a:lvl1pPr marL="0" indent="0">
              <a:lnSpc>
                <a:spcPts val="3200"/>
              </a:lnSpc>
              <a:spcBef>
                <a:spcPts val="0"/>
              </a:spcBef>
              <a:buFontTx/>
              <a:buNone/>
              <a:defRPr sz="3600" b="1" i="0"/>
            </a:lvl1pPr>
            <a:lvl2pPr marL="457200" indent="0">
              <a:lnSpc>
                <a:spcPts val="3500"/>
              </a:lnSpc>
              <a:buFontTx/>
              <a:buNone/>
              <a:defRPr sz="3500" b="1" i="0"/>
            </a:lvl2pPr>
            <a:lvl3pPr marL="914400" indent="0">
              <a:lnSpc>
                <a:spcPts val="3500"/>
              </a:lnSpc>
              <a:buFontTx/>
              <a:buNone/>
              <a:defRPr sz="3500" b="1" i="0"/>
            </a:lvl3pPr>
            <a:lvl4pPr marL="1371600" indent="0">
              <a:lnSpc>
                <a:spcPts val="3500"/>
              </a:lnSpc>
              <a:buFontTx/>
              <a:buNone/>
              <a:defRPr sz="3500" b="1" i="0"/>
            </a:lvl4pPr>
            <a:lvl5pPr marL="1828800" indent="0">
              <a:lnSpc>
                <a:spcPts val="3500"/>
              </a:lnSpc>
              <a:buFontTx/>
              <a:buNone/>
              <a:defRPr sz="3500" b="1" i="0"/>
            </a:lvl5pPr>
          </a:lstStyle>
          <a:p>
            <a:pPr lvl="0"/>
            <a:r>
              <a:rPr lang="it-IT" dirty="0" err="1" smtClean="0"/>
              <a:t>Insert</a:t>
            </a:r>
            <a:r>
              <a:rPr lang="it-IT" dirty="0" smtClean="0"/>
              <a:t> title</a:t>
            </a:r>
            <a:endParaRPr lang="en-GB" dirty="0"/>
          </a:p>
        </p:txBody>
      </p:sp>
      <p:sp>
        <p:nvSpPr>
          <p:cNvPr id="3" name="Segnaposto contenuto 2"/>
          <p:cNvSpPr>
            <a:spLocks noGrp="1"/>
          </p:cNvSpPr>
          <p:nvPr>
            <p:ph sz="quarter" idx="20" hasCustomPrompt="1"/>
          </p:nvPr>
        </p:nvSpPr>
        <p:spPr bwMode="gray">
          <a:xfrm>
            <a:off x="540000" y="3747225"/>
            <a:ext cx="5040000" cy="972000"/>
          </a:xfrm>
        </p:spPr>
        <p:txBody>
          <a:bodyPr anchor="ctr" anchorCtr="0">
            <a:noAutofit/>
          </a:bodyPr>
          <a:lstStyle>
            <a:lvl1pPr marL="0" indent="0">
              <a:buFontTx/>
              <a:buNone/>
              <a:defRPr sz="1400" b="1"/>
            </a:lvl1pPr>
            <a:lvl2pPr marL="457200" indent="0">
              <a:buFontTx/>
              <a:buNone/>
              <a:defRPr sz="1400" b="1"/>
            </a:lvl2pPr>
            <a:lvl3pPr marL="914400" indent="0">
              <a:buFontTx/>
              <a:buNone/>
              <a:defRPr sz="1400" b="1"/>
            </a:lvl3pPr>
            <a:lvl4pPr marL="1371600" indent="0">
              <a:buFontTx/>
              <a:buNone/>
              <a:defRPr sz="1400" b="1"/>
            </a:lvl4pPr>
            <a:lvl5pPr marL="1828800" indent="0">
              <a:buFontTx/>
              <a:buNone/>
              <a:defRPr sz="1400" b="1"/>
            </a:lvl5pPr>
          </a:lstStyle>
          <a:p>
            <a:pPr lvl="0"/>
            <a:r>
              <a:rPr lang="it-IT" dirty="0" err="1" smtClean="0"/>
              <a:t>Insert</a:t>
            </a:r>
            <a:r>
              <a:rPr lang="it-IT" dirty="0" smtClean="0"/>
              <a:t> partner / </a:t>
            </a:r>
            <a:r>
              <a:rPr lang="it-IT" dirty="0" err="1" smtClean="0"/>
              <a:t>internal</a:t>
            </a:r>
            <a:r>
              <a:rPr lang="it-IT" dirty="0" smtClean="0"/>
              <a:t> logo</a:t>
            </a:r>
            <a:endParaRPr lang="it-IT" dirty="0"/>
          </a:p>
        </p:txBody>
      </p:sp>
      <p:sp>
        <p:nvSpPr>
          <p:cNvPr id="4" name="Segnaposto testo 3"/>
          <p:cNvSpPr>
            <a:spLocks noGrp="1"/>
          </p:cNvSpPr>
          <p:nvPr>
            <p:ph type="body" sz="quarter" idx="21" hasCustomPrompt="1"/>
          </p:nvPr>
        </p:nvSpPr>
        <p:spPr>
          <a:xfrm>
            <a:off x="5943600" y="3128021"/>
            <a:ext cx="2880000" cy="208800"/>
          </a:xfrm>
        </p:spPr>
        <p:txBody>
          <a:bodyPr anchor="t" anchorCtr="0">
            <a:noAutofit/>
          </a:bodyPr>
          <a:lstStyle>
            <a:lvl1pPr marL="0" indent="0" algn="r">
              <a:spcBef>
                <a:spcPts val="0"/>
              </a:spcBef>
              <a:buFontTx/>
              <a:buNone/>
              <a:defRPr sz="1200" baseline="0"/>
            </a:lvl1pPr>
            <a:lvl2pPr marL="457200" indent="0" algn="r">
              <a:buFontTx/>
              <a:buNone/>
              <a:defRPr sz="1200"/>
            </a:lvl2pPr>
            <a:lvl3pPr marL="914400" indent="0" algn="r">
              <a:buFontTx/>
              <a:buNone/>
              <a:defRPr sz="1200"/>
            </a:lvl3pPr>
            <a:lvl4pPr marL="1371600" indent="0" algn="r">
              <a:buFontTx/>
              <a:buNone/>
              <a:defRPr sz="1200"/>
            </a:lvl4pPr>
            <a:lvl5pPr marL="1828800" indent="0" algn="r">
              <a:buFontTx/>
              <a:buNone/>
              <a:defRPr sz="1200"/>
            </a:lvl5pPr>
          </a:lstStyle>
          <a:p>
            <a:pPr lvl="0"/>
            <a:r>
              <a:rPr lang="en-US" dirty="0" smtClean="0"/>
              <a:t>Insert legal entity - classification level</a:t>
            </a:r>
            <a:endParaRPr lang="it-IT" dirty="0"/>
          </a:p>
        </p:txBody>
      </p:sp>
      <p:pic>
        <p:nvPicPr>
          <p:cNvPr id="11" name="Picture 2" descr="\\Hofs\I&amp;C\UNICREDIT BRAND GUIDELINES\Logo UniCredit Bank\Logo\UCB_CMYK_3D_RO_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96914" y="3567108"/>
            <a:ext cx="2806848" cy="1355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866854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Cover Slide Picture">
    <p:bg>
      <p:bgPr>
        <a:solidFill>
          <a:schemeClr val="bg1"/>
        </a:solidFill>
        <a:effectLst/>
      </p:bgPr>
    </p:bg>
    <p:spTree>
      <p:nvGrpSpPr>
        <p:cNvPr id="1" name=""/>
        <p:cNvGrpSpPr/>
        <p:nvPr/>
      </p:nvGrpSpPr>
      <p:grpSpPr>
        <a:xfrm>
          <a:off x="0" y="0"/>
          <a:ext cx="0" cy="0"/>
          <a:chOff x="0" y="0"/>
          <a:chExt cx="0" cy="0"/>
        </a:xfrm>
      </p:grpSpPr>
      <p:sp>
        <p:nvSpPr>
          <p:cNvPr id="11" name="Segnaposto immagine 2"/>
          <p:cNvSpPr>
            <a:spLocks noGrp="1"/>
          </p:cNvSpPr>
          <p:nvPr>
            <p:ph type="pic" sz="quarter" idx="18" hasCustomPrompt="1"/>
          </p:nvPr>
        </p:nvSpPr>
        <p:spPr>
          <a:xfrm>
            <a:off x="0" y="1"/>
            <a:ext cx="9144000" cy="2890362"/>
          </a:xfrm>
        </p:spPr>
        <p:txBody>
          <a:bodyPr anchor="ctr" anchorCtr="1"/>
          <a:lstStyle>
            <a:lvl1pPr>
              <a:defRPr/>
            </a:lvl1pPr>
          </a:lstStyle>
          <a:p>
            <a:r>
              <a:rPr lang="en-GB" dirty="0" smtClean="0"/>
              <a:t>Insert image</a:t>
            </a:r>
            <a:endParaRPr lang="en-GB" dirty="0"/>
          </a:p>
        </p:txBody>
      </p:sp>
      <p:sp>
        <p:nvSpPr>
          <p:cNvPr id="13" name="Rettangolo 12"/>
          <p:cNvSpPr/>
          <p:nvPr userDrawn="1"/>
        </p:nvSpPr>
        <p:spPr bwMode="ltGray">
          <a:xfrm>
            <a:off x="0" y="2890363"/>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77221" tIns="38611" rIns="77221" bIns="38611" numCol="1" rtlCol="0" anchor="t" anchorCtr="0" compatLnSpc="1">
            <a:prstTxWarp prst="textNoShape">
              <a:avLst/>
            </a:prstTxWarp>
          </a:bodyPr>
          <a:lstStyle/>
          <a:p>
            <a:pPr marL="0" marR="0" indent="0" algn="l" defTabSz="772211" rtl="0" eaLnBrk="0" fontAlgn="base" latinLnBrk="0" hangingPunct="0">
              <a:lnSpc>
                <a:spcPct val="100000"/>
              </a:lnSpc>
              <a:spcBef>
                <a:spcPct val="0"/>
              </a:spcBef>
              <a:spcAft>
                <a:spcPct val="0"/>
              </a:spcAft>
              <a:buClrTx/>
              <a:buSzTx/>
              <a:buFontTx/>
              <a:buNone/>
              <a:tabLst/>
            </a:pPr>
            <a:endParaRPr kumimoji="0" lang="it-IT" sz="1000" b="0" i="0" u="sng" strike="noStrike" cap="none" normalizeH="0" baseline="0" dirty="0">
              <a:ln>
                <a:noFill/>
              </a:ln>
              <a:solidFill>
                <a:schemeClr val="tx1"/>
              </a:solidFill>
              <a:effectLst/>
              <a:latin typeface="Arial"/>
              <a:ea typeface="Arial"/>
              <a:cs typeface="Arial"/>
            </a:endParaRPr>
          </a:p>
        </p:txBody>
      </p:sp>
      <p:sp>
        <p:nvSpPr>
          <p:cNvPr id="27" name="Segnaposto testo 26"/>
          <p:cNvSpPr>
            <a:spLocks noGrp="1"/>
          </p:cNvSpPr>
          <p:nvPr>
            <p:ph type="body" sz="quarter" idx="13" hasCustomPrompt="1"/>
          </p:nvPr>
        </p:nvSpPr>
        <p:spPr bwMode="gray">
          <a:xfrm>
            <a:off x="539999" y="2116800"/>
            <a:ext cx="8283325" cy="626333"/>
          </a:xfrm>
        </p:spPr>
        <p:txBody>
          <a:bodyPr anchor="b" anchorCtr="0">
            <a:noAutofit/>
          </a:bodyPr>
          <a:lstStyle>
            <a:lvl1pPr marL="0" indent="0">
              <a:lnSpc>
                <a:spcPts val="2300"/>
              </a:lnSpc>
              <a:spcBef>
                <a:spcPts val="0"/>
              </a:spcBef>
              <a:buFontTx/>
              <a:buNone/>
              <a:defRPr sz="2300" baseline="0"/>
            </a:lvl1pPr>
          </a:lstStyle>
          <a:p>
            <a:pPr lvl="0"/>
            <a:r>
              <a:rPr lang="it-IT" dirty="0" err="1" smtClean="0"/>
              <a:t>Insert</a:t>
            </a:r>
            <a:r>
              <a:rPr lang="it-IT" dirty="0" smtClean="0"/>
              <a:t> </a:t>
            </a:r>
            <a:r>
              <a:rPr lang="it-IT" dirty="0" err="1" smtClean="0"/>
              <a:t>subtitle</a:t>
            </a:r>
            <a:endParaRPr lang="en-GB" dirty="0"/>
          </a:p>
        </p:txBody>
      </p:sp>
      <p:sp>
        <p:nvSpPr>
          <p:cNvPr id="29" name="Segnaposto testo 26"/>
          <p:cNvSpPr>
            <a:spLocks noGrp="1"/>
          </p:cNvSpPr>
          <p:nvPr>
            <p:ph type="body" sz="quarter" idx="15" hasCustomPrompt="1"/>
          </p:nvPr>
        </p:nvSpPr>
        <p:spPr>
          <a:xfrm>
            <a:off x="540001" y="3394800"/>
            <a:ext cx="5039999" cy="208800"/>
          </a:xfrm>
        </p:spPr>
        <p:txBody>
          <a:bodyPr tIns="0" anchor="b" anchorCtr="0">
            <a:noAutofit/>
          </a:bodyPr>
          <a:lstStyle>
            <a:lvl1pPr marL="0" indent="0">
              <a:lnSpc>
                <a:spcPct val="100000"/>
              </a:lnSpc>
              <a:spcBef>
                <a:spcPts val="0"/>
              </a:spcBef>
              <a:buFontTx/>
              <a:buNone/>
              <a:defRPr sz="1100" b="1" i="0" baseline="0">
                <a:latin typeface="Arial"/>
              </a:defRPr>
            </a:lvl1pPr>
          </a:lstStyle>
          <a:p>
            <a:pPr lvl="0"/>
            <a:r>
              <a:rPr lang="it-IT" dirty="0" err="1" smtClean="0"/>
              <a:t>Insert</a:t>
            </a:r>
            <a:r>
              <a:rPr lang="it-IT" dirty="0" smtClean="0"/>
              <a:t> city and date</a:t>
            </a:r>
            <a:endParaRPr lang="en-GB" dirty="0"/>
          </a:p>
        </p:txBody>
      </p:sp>
      <p:sp>
        <p:nvSpPr>
          <p:cNvPr id="31" name="Segnaposto testo 30"/>
          <p:cNvSpPr>
            <a:spLocks noGrp="1"/>
          </p:cNvSpPr>
          <p:nvPr>
            <p:ph type="body" sz="quarter" idx="16" hasCustomPrompt="1"/>
          </p:nvPr>
        </p:nvSpPr>
        <p:spPr bwMode="gray">
          <a:xfrm>
            <a:off x="540000" y="670323"/>
            <a:ext cx="6663344" cy="727803"/>
          </a:xfrm>
        </p:spPr>
        <p:txBody>
          <a:bodyPr>
            <a:noAutofit/>
          </a:bodyPr>
          <a:lstStyle>
            <a:lvl1pPr marL="0" indent="0">
              <a:lnSpc>
                <a:spcPts val="3000"/>
              </a:lnSpc>
              <a:spcBef>
                <a:spcPts val="0"/>
              </a:spcBef>
              <a:buFontTx/>
              <a:buNone/>
              <a:defRPr sz="3200" b="1" i="0"/>
            </a:lvl1pPr>
            <a:lvl2pPr marL="457200" indent="0">
              <a:lnSpc>
                <a:spcPts val="3500"/>
              </a:lnSpc>
              <a:buFontTx/>
              <a:buNone/>
              <a:defRPr sz="3500" b="1" i="0"/>
            </a:lvl2pPr>
            <a:lvl3pPr marL="914400" indent="0">
              <a:lnSpc>
                <a:spcPts val="3500"/>
              </a:lnSpc>
              <a:buFontTx/>
              <a:buNone/>
              <a:defRPr sz="3500" b="1" i="0"/>
            </a:lvl3pPr>
            <a:lvl4pPr marL="1371600" indent="0">
              <a:lnSpc>
                <a:spcPts val="3500"/>
              </a:lnSpc>
              <a:buFontTx/>
              <a:buNone/>
              <a:defRPr sz="3500" b="1" i="0"/>
            </a:lvl4pPr>
            <a:lvl5pPr marL="1828800" indent="0">
              <a:lnSpc>
                <a:spcPts val="3500"/>
              </a:lnSpc>
              <a:buFontTx/>
              <a:buNone/>
              <a:defRPr sz="3500" b="1" i="0"/>
            </a:lvl5pPr>
          </a:lstStyle>
          <a:p>
            <a:pPr lvl="0"/>
            <a:r>
              <a:rPr lang="it-IT" dirty="0" err="1" smtClean="0"/>
              <a:t>Insert</a:t>
            </a:r>
            <a:r>
              <a:rPr lang="it-IT" dirty="0" smtClean="0"/>
              <a:t> title</a:t>
            </a:r>
            <a:endParaRPr lang="en-GB" dirty="0"/>
          </a:p>
        </p:txBody>
      </p:sp>
      <p:sp>
        <p:nvSpPr>
          <p:cNvPr id="12" name="Segnaposto contenuto 2"/>
          <p:cNvSpPr>
            <a:spLocks noGrp="1"/>
          </p:cNvSpPr>
          <p:nvPr>
            <p:ph sz="quarter" idx="20" hasCustomPrompt="1"/>
          </p:nvPr>
        </p:nvSpPr>
        <p:spPr bwMode="gray">
          <a:xfrm>
            <a:off x="540001" y="3747600"/>
            <a:ext cx="5040000" cy="972000"/>
          </a:xfrm>
        </p:spPr>
        <p:txBody>
          <a:bodyPr anchor="ctr" anchorCtr="0">
            <a:noAutofit/>
          </a:bodyPr>
          <a:lstStyle>
            <a:lvl1pPr marL="0" indent="0">
              <a:buFontTx/>
              <a:buNone/>
              <a:defRPr sz="1400" b="1"/>
            </a:lvl1pPr>
            <a:lvl2pPr marL="457200" indent="0">
              <a:buFontTx/>
              <a:buNone/>
              <a:defRPr sz="1400" b="1"/>
            </a:lvl2pPr>
            <a:lvl3pPr marL="914400" indent="0">
              <a:buFontTx/>
              <a:buNone/>
              <a:defRPr sz="1400" b="1"/>
            </a:lvl3pPr>
            <a:lvl4pPr marL="1371600" indent="0">
              <a:buFontTx/>
              <a:buNone/>
              <a:defRPr sz="1400" b="1"/>
            </a:lvl4pPr>
            <a:lvl5pPr marL="1828800" indent="0">
              <a:buFontTx/>
              <a:buNone/>
              <a:defRPr sz="1400" b="1"/>
            </a:lvl5pPr>
          </a:lstStyle>
          <a:p>
            <a:pPr lvl="0"/>
            <a:r>
              <a:rPr lang="it-IT" dirty="0" err="1" smtClean="0"/>
              <a:t>Insert</a:t>
            </a:r>
            <a:r>
              <a:rPr lang="it-IT" dirty="0" smtClean="0"/>
              <a:t> partner / </a:t>
            </a:r>
            <a:r>
              <a:rPr lang="it-IT" dirty="0" err="1" smtClean="0"/>
              <a:t>internal</a:t>
            </a:r>
            <a:r>
              <a:rPr lang="it-IT" dirty="0" smtClean="0"/>
              <a:t> logo</a:t>
            </a:r>
            <a:endParaRPr lang="it-IT" dirty="0"/>
          </a:p>
        </p:txBody>
      </p:sp>
      <p:sp>
        <p:nvSpPr>
          <p:cNvPr id="3" name="Segnaposto contenuto 2"/>
          <p:cNvSpPr>
            <a:spLocks noGrp="1"/>
          </p:cNvSpPr>
          <p:nvPr>
            <p:ph sz="quarter" idx="21" hasCustomPrompt="1"/>
          </p:nvPr>
        </p:nvSpPr>
        <p:spPr bwMode="gray">
          <a:xfrm>
            <a:off x="7855200" y="324000"/>
            <a:ext cx="972000" cy="1072800"/>
          </a:xfrm>
          <a:blipFill dpi="0" rotWithShape="1">
            <a:blip r:embed="rId2"/>
            <a:srcRect/>
            <a:stretch>
              <a:fillRect/>
            </a:stretch>
          </a:blipFill>
        </p:spPr>
        <p:txBody>
          <a:bodyPr>
            <a:noAutofit/>
          </a:bodyPr>
          <a:lstStyle>
            <a:lvl1pPr marL="0" indent="0" algn="ctr">
              <a:buFontTx/>
              <a:buNone/>
              <a:defRPr sz="1400" b="1" baseline="0">
                <a:noFill/>
              </a:defRPr>
            </a:lvl1pPr>
            <a:lvl2pPr marL="457200" indent="0" algn="ctr">
              <a:buFontTx/>
              <a:buNone/>
              <a:defRPr sz="1400" b="1"/>
            </a:lvl2pPr>
            <a:lvl3pPr marL="914400" indent="0" algn="ctr">
              <a:buFontTx/>
              <a:buNone/>
              <a:defRPr sz="1400" b="1"/>
            </a:lvl3pPr>
            <a:lvl4pPr marL="1371600" indent="0" algn="ctr">
              <a:buFontTx/>
              <a:buNone/>
              <a:defRPr sz="1400" b="1"/>
            </a:lvl4pPr>
            <a:lvl5pPr marL="1828800" indent="0" algn="ctr">
              <a:buFontTx/>
              <a:buNone/>
              <a:defRPr sz="1400" b="1"/>
            </a:lvl5pPr>
          </a:lstStyle>
          <a:p>
            <a:pPr lvl="0"/>
            <a:r>
              <a:rPr lang="it-IT" dirty="0" smtClean="0"/>
              <a:t>Composite Logo</a:t>
            </a:r>
            <a:endParaRPr lang="it-IT" dirty="0"/>
          </a:p>
        </p:txBody>
      </p:sp>
      <p:sp>
        <p:nvSpPr>
          <p:cNvPr id="16" name="Segnaposto testo 3"/>
          <p:cNvSpPr>
            <a:spLocks noGrp="1"/>
          </p:cNvSpPr>
          <p:nvPr>
            <p:ph type="body" sz="quarter" idx="22" hasCustomPrompt="1"/>
          </p:nvPr>
        </p:nvSpPr>
        <p:spPr>
          <a:xfrm>
            <a:off x="5944025" y="3139200"/>
            <a:ext cx="2880000" cy="208800"/>
          </a:xfrm>
        </p:spPr>
        <p:txBody>
          <a:bodyPr anchor="t" anchorCtr="0">
            <a:noAutofit/>
          </a:bodyPr>
          <a:lstStyle>
            <a:lvl1pPr marL="0" indent="0" algn="r">
              <a:spcBef>
                <a:spcPts val="0"/>
              </a:spcBef>
              <a:buFontTx/>
              <a:buNone/>
              <a:defRPr sz="1100" baseline="0"/>
            </a:lvl1pPr>
            <a:lvl2pPr marL="457200" indent="0" algn="r">
              <a:buFontTx/>
              <a:buNone/>
              <a:defRPr sz="1200"/>
            </a:lvl2pPr>
            <a:lvl3pPr marL="914400" indent="0" algn="r">
              <a:buFontTx/>
              <a:buNone/>
              <a:defRPr sz="1200"/>
            </a:lvl3pPr>
            <a:lvl4pPr marL="1371600" indent="0" algn="r">
              <a:buFontTx/>
              <a:buNone/>
              <a:defRPr sz="1200"/>
            </a:lvl4pPr>
            <a:lvl5pPr marL="1828800" indent="0" algn="r">
              <a:buFontTx/>
              <a:buNone/>
              <a:defRPr sz="1200"/>
            </a:lvl5pPr>
          </a:lstStyle>
          <a:p>
            <a:pPr marL="0" marR="0" lvl="0" indent="0" algn="r" defTabSz="457200" rtl="0" eaLnBrk="1" fontAlgn="auto" latinLnBrk="0" hangingPunct="1">
              <a:lnSpc>
                <a:spcPct val="100000"/>
              </a:lnSpc>
              <a:spcBef>
                <a:spcPct val="20000"/>
              </a:spcBef>
              <a:spcAft>
                <a:spcPts val="0"/>
              </a:spcAft>
              <a:buClr>
                <a:srgbClr val="CD0920"/>
              </a:buClr>
              <a:buSzTx/>
              <a:buFontTx/>
              <a:buNone/>
              <a:tabLst/>
              <a:defRPr/>
            </a:pPr>
            <a:r>
              <a:rPr lang="en-US" dirty="0" smtClean="0"/>
              <a:t>Insert legal entity - classification level</a:t>
            </a:r>
            <a:endParaRPr lang="it-IT" dirty="0"/>
          </a:p>
        </p:txBody>
      </p:sp>
      <p:sp>
        <p:nvSpPr>
          <p:cNvPr id="28" name="Segnaposto testo 26"/>
          <p:cNvSpPr>
            <a:spLocks noGrp="1"/>
          </p:cNvSpPr>
          <p:nvPr>
            <p:ph type="body" sz="quarter" idx="14" hasCustomPrompt="1"/>
          </p:nvPr>
        </p:nvSpPr>
        <p:spPr>
          <a:xfrm>
            <a:off x="540000" y="3128400"/>
            <a:ext cx="5040000" cy="208800"/>
          </a:xfrm>
        </p:spPr>
        <p:txBody>
          <a:bodyPr anchor="t" anchorCtr="0">
            <a:noAutofit/>
          </a:bodyPr>
          <a:lstStyle>
            <a:lvl1pPr marL="0" indent="0">
              <a:lnSpc>
                <a:spcPct val="100000"/>
              </a:lnSpc>
              <a:spcBef>
                <a:spcPts val="0"/>
              </a:spcBef>
              <a:buFontTx/>
              <a:buNone/>
              <a:defRPr sz="1250" b="1" i="0" baseline="0">
                <a:latin typeface="Arial"/>
              </a:defRPr>
            </a:lvl1pPr>
          </a:lstStyle>
          <a:p>
            <a:pPr lvl="0"/>
            <a:r>
              <a:rPr lang="it-IT" dirty="0" err="1" smtClean="0"/>
              <a:t>Insert</a:t>
            </a:r>
            <a:r>
              <a:rPr lang="it-IT" dirty="0" smtClean="0"/>
              <a:t> </a:t>
            </a:r>
            <a:r>
              <a:rPr lang="it-IT" dirty="0" err="1" smtClean="0"/>
              <a:t>name</a:t>
            </a:r>
            <a:r>
              <a:rPr lang="it-IT" dirty="0" smtClean="0"/>
              <a:t> and </a:t>
            </a:r>
            <a:r>
              <a:rPr lang="it-IT" dirty="0" err="1" smtClean="0"/>
              <a:t>function</a:t>
            </a:r>
            <a:endParaRPr lang="en-GB" dirty="0"/>
          </a:p>
        </p:txBody>
      </p:sp>
      <p:pic>
        <p:nvPicPr>
          <p:cNvPr id="1026" name="Picture 2" descr="\\Hofs\I&amp;C\UNICREDIT BRAND GUIDELINES\Logo UniCredit Bank\Logo\UCB_CMYK_3D_RO_L.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911850" y="3492676"/>
            <a:ext cx="3117850" cy="15058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268613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19378FC2-56C0-4685-9C7B-EFAA301401DD}" type="slidenum">
              <a:rPr lang="en-US"/>
              <a:pPr>
                <a:defRPr/>
              </a:pPr>
              <a:t>‹#›</a:t>
            </a:fld>
            <a:endParaRPr lang="en-US" dirty="0"/>
          </a:p>
        </p:txBody>
      </p:sp>
    </p:spTree>
    <p:extLst>
      <p:ext uri="{BB962C8B-B14F-4D97-AF65-F5344CB8AC3E}">
        <p14:creationId xmlns:p14="http://schemas.microsoft.com/office/powerpoint/2010/main" val="38606023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Picture">
    <p:bg>
      <p:bgPr>
        <a:solidFill>
          <a:schemeClr val="bg1"/>
        </a:solidFill>
        <a:effectLst/>
      </p:bgPr>
    </p:bg>
    <p:spTree>
      <p:nvGrpSpPr>
        <p:cNvPr id="1" name=""/>
        <p:cNvGrpSpPr/>
        <p:nvPr/>
      </p:nvGrpSpPr>
      <p:grpSpPr>
        <a:xfrm>
          <a:off x="0" y="0"/>
          <a:ext cx="0" cy="0"/>
          <a:chOff x="0" y="0"/>
          <a:chExt cx="0" cy="0"/>
        </a:xfrm>
      </p:grpSpPr>
      <p:sp>
        <p:nvSpPr>
          <p:cNvPr id="11" name="Segnaposto immagine 2"/>
          <p:cNvSpPr>
            <a:spLocks noGrp="1"/>
          </p:cNvSpPr>
          <p:nvPr>
            <p:ph type="pic" sz="quarter" idx="18" hasCustomPrompt="1"/>
          </p:nvPr>
        </p:nvSpPr>
        <p:spPr>
          <a:xfrm>
            <a:off x="0" y="1"/>
            <a:ext cx="9144000" cy="2890362"/>
          </a:xfrm>
        </p:spPr>
        <p:txBody>
          <a:bodyPr anchor="ctr" anchorCtr="1"/>
          <a:lstStyle>
            <a:lvl1pPr>
              <a:defRPr/>
            </a:lvl1pPr>
          </a:lstStyle>
          <a:p>
            <a:r>
              <a:rPr lang="en-GB" dirty="0" smtClean="0"/>
              <a:t>Insert image</a:t>
            </a:r>
            <a:endParaRPr lang="en-GB" dirty="0"/>
          </a:p>
        </p:txBody>
      </p:sp>
      <p:sp>
        <p:nvSpPr>
          <p:cNvPr id="13" name="Rettangolo 12"/>
          <p:cNvSpPr/>
          <p:nvPr userDrawn="1"/>
        </p:nvSpPr>
        <p:spPr bwMode="ltGray">
          <a:xfrm>
            <a:off x="0" y="2890363"/>
            <a:ext cx="9144000" cy="2268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77221" tIns="38611" rIns="77221" bIns="38611" numCol="1" rtlCol="0" anchor="t" anchorCtr="0" compatLnSpc="1">
            <a:prstTxWarp prst="textNoShape">
              <a:avLst/>
            </a:prstTxWarp>
          </a:bodyPr>
          <a:lstStyle/>
          <a:p>
            <a:pPr marL="0" marR="0" indent="0" algn="l" defTabSz="772211" rtl="0" eaLnBrk="0" fontAlgn="base" latinLnBrk="0" hangingPunct="0">
              <a:lnSpc>
                <a:spcPct val="100000"/>
              </a:lnSpc>
              <a:spcBef>
                <a:spcPct val="0"/>
              </a:spcBef>
              <a:spcAft>
                <a:spcPct val="0"/>
              </a:spcAft>
              <a:buClrTx/>
              <a:buSzTx/>
              <a:buFontTx/>
              <a:buNone/>
              <a:tabLst/>
            </a:pPr>
            <a:endParaRPr kumimoji="0" lang="it-IT" sz="1000" b="0" i="0" u="sng" strike="noStrike" cap="none" normalizeH="0" baseline="0" dirty="0">
              <a:ln>
                <a:noFill/>
              </a:ln>
              <a:solidFill>
                <a:schemeClr val="tx1"/>
              </a:solidFill>
              <a:effectLst/>
              <a:latin typeface="UniCredit"/>
              <a:ea typeface="UniCredit"/>
              <a:cs typeface="UniCredit"/>
            </a:endParaRPr>
          </a:p>
        </p:txBody>
      </p:sp>
      <p:sp>
        <p:nvSpPr>
          <p:cNvPr id="27" name="Segnaposto testo 26"/>
          <p:cNvSpPr>
            <a:spLocks noGrp="1"/>
          </p:cNvSpPr>
          <p:nvPr>
            <p:ph type="body" sz="quarter" idx="13" hasCustomPrompt="1"/>
          </p:nvPr>
        </p:nvSpPr>
        <p:spPr bwMode="gray">
          <a:xfrm>
            <a:off x="539999" y="2116800"/>
            <a:ext cx="8283325" cy="626333"/>
          </a:xfrm>
        </p:spPr>
        <p:txBody>
          <a:bodyPr anchor="b" anchorCtr="0">
            <a:noAutofit/>
          </a:bodyPr>
          <a:lstStyle>
            <a:lvl1pPr marL="0" indent="0">
              <a:lnSpc>
                <a:spcPts val="2600"/>
              </a:lnSpc>
              <a:spcBef>
                <a:spcPts val="0"/>
              </a:spcBef>
              <a:buFontTx/>
              <a:buNone/>
              <a:defRPr sz="2600" baseline="0"/>
            </a:lvl1pPr>
          </a:lstStyle>
          <a:p>
            <a:pPr lvl="0"/>
            <a:r>
              <a:rPr lang="it-IT" dirty="0" err="1" smtClean="0"/>
              <a:t>Insert</a:t>
            </a:r>
            <a:r>
              <a:rPr lang="it-IT" dirty="0" smtClean="0"/>
              <a:t> </a:t>
            </a:r>
            <a:r>
              <a:rPr lang="it-IT" dirty="0" err="1" smtClean="0"/>
              <a:t>subtitle</a:t>
            </a:r>
            <a:endParaRPr lang="en-GB" dirty="0"/>
          </a:p>
        </p:txBody>
      </p:sp>
      <p:sp>
        <p:nvSpPr>
          <p:cNvPr id="31" name="Segnaposto testo 30"/>
          <p:cNvSpPr>
            <a:spLocks noGrp="1"/>
          </p:cNvSpPr>
          <p:nvPr>
            <p:ph type="body" sz="quarter" idx="16" hasCustomPrompt="1"/>
          </p:nvPr>
        </p:nvSpPr>
        <p:spPr bwMode="gray">
          <a:xfrm>
            <a:off x="540000" y="670323"/>
            <a:ext cx="6663344" cy="727803"/>
          </a:xfrm>
        </p:spPr>
        <p:txBody>
          <a:bodyPr>
            <a:noAutofit/>
          </a:bodyPr>
          <a:lstStyle>
            <a:lvl1pPr marL="0" indent="0">
              <a:lnSpc>
                <a:spcPts val="3200"/>
              </a:lnSpc>
              <a:spcBef>
                <a:spcPts val="0"/>
              </a:spcBef>
              <a:buFontTx/>
              <a:buNone/>
              <a:defRPr sz="3600" b="1" i="0"/>
            </a:lvl1pPr>
            <a:lvl2pPr marL="457200" indent="0">
              <a:lnSpc>
                <a:spcPts val="3500"/>
              </a:lnSpc>
              <a:buFontTx/>
              <a:buNone/>
              <a:defRPr sz="3500" b="1" i="0"/>
            </a:lvl2pPr>
            <a:lvl3pPr marL="914400" indent="0">
              <a:lnSpc>
                <a:spcPts val="3500"/>
              </a:lnSpc>
              <a:buFontTx/>
              <a:buNone/>
              <a:defRPr sz="3500" b="1" i="0"/>
            </a:lvl3pPr>
            <a:lvl4pPr marL="1371600" indent="0">
              <a:lnSpc>
                <a:spcPts val="3500"/>
              </a:lnSpc>
              <a:buFontTx/>
              <a:buNone/>
              <a:defRPr sz="3500" b="1" i="0"/>
            </a:lvl4pPr>
            <a:lvl5pPr marL="1828800" indent="0">
              <a:lnSpc>
                <a:spcPts val="3500"/>
              </a:lnSpc>
              <a:buFontTx/>
              <a:buNone/>
              <a:defRPr sz="3500" b="1" i="0"/>
            </a:lvl5pPr>
          </a:lstStyle>
          <a:p>
            <a:pPr lvl="0"/>
            <a:r>
              <a:rPr lang="it-IT" dirty="0" err="1" smtClean="0"/>
              <a:t>Insert</a:t>
            </a:r>
            <a:r>
              <a:rPr lang="it-IT" dirty="0" smtClean="0"/>
              <a:t> title</a:t>
            </a:r>
            <a:endParaRPr lang="en-GB" dirty="0"/>
          </a:p>
        </p:txBody>
      </p:sp>
      <p:sp>
        <p:nvSpPr>
          <p:cNvPr id="12" name="Segnaposto contenuto 2"/>
          <p:cNvSpPr>
            <a:spLocks noGrp="1"/>
          </p:cNvSpPr>
          <p:nvPr>
            <p:ph sz="quarter" idx="20" hasCustomPrompt="1"/>
          </p:nvPr>
        </p:nvSpPr>
        <p:spPr bwMode="gray">
          <a:xfrm>
            <a:off x="540001" y="3747600"/>
            <a:ext cx="5040000" cy="972000"/>
          </a:xfrm>
        </p:spPr>
        <p:txBody>
          <a:bodyPr anchor="ctr" anchorCtr="0">
            <a:noAutofit/>
          </a:bodyPr>
          <a:lstStyle>
            <a:lvl1pPr marL="0" indent="0">
              <a:buFontTx/>
              <a:buNone/>
              <a:defRPr sz="1400" b="1"/>
            </a:lvl1pPr>
            <a:lvl2pPr marL="457200" indent="0">
              <a:buFontTx/>
              <a:buNone/>
              <a:defRPr sz="1400" b="1"/>
            </a:lvl2pPr>
            <a:lvl3pPr marL="914400" indent="0">
              <a:buFontTx/>
              <a:buNone/>
              <a:defRPr sz="1400" b="1"/>
            </a:lvl3pPr>
            <a:lvl4pPr marL="1371600" indent="0">
              <a:buFontTx/>
              <a:buNone/>
              <a:defRPr sz="1400" b="1"/>
            </a:lvl4pPr>
            <a:lvl5pPr marL="1828800" indent="0">
              <a:buFontTx/>
              <a:buNone/>
              <a:defRPr sz="1400" b="1"/>
            </a:lvl5pPr>
          </a:lstStyle>
          <a:p>
            <a:pPr lvl="0"/>
            <a:r>
              <a:rPr lang="it-IT" dirty="0" err="1" smtClean="0"/>
              <a:t>Insert</a:t>
            </a:r>
            <a:r>
              <a:rPr lang="it-IT" dirty="0" smtClean="0"/>
              <a:t> partner / </a:t>
            </a:r>
            <a:r>
              <a:rPr lang="it-IT" dirty="0" err="1" smtClean="0"/>
              <a:t>internal</a:t>
            </a:r>
            <a:r>
              <a:rPr lang="it-IT" dirty="0" smtClean="0"/>
              <a:t> logo</a:t>
            </a:r>
            <a:endParaRPr lang="it-IT" dirty="0"/>
          </a:p>
        </p:txBody>
      </p:sp>
      <p:sp>
        <p:nvSpPr>
          <p:cNvPr id="16" name="Segnaposto testo 3"/>
          <p:cNvSpPr>
            <a:spLocks noGrp="1"/>
          </p:cNvSpPr>
          <p:nvPr>
            <p:ph type="body" sz="quarter" idx="22" hasCustomPrompt="1"/>
          </p:nvPr>
        </p:nvSpPr>
        <p:spPr>
          <a:xfrm>
            <a:off x="5944025" y="3128400"/>
            <a:ext cx="2880000" cy="208800"/>
          </a:xfrm>
        </p:spPr>
        <p:txBody>
          <a:bodyPr anchor="t" anchorCtr="0">
            <a:noAutofit/>
          </a:bodyPr>
          <a:lstStyle>
            <a:lvl1pPr marL="0" indent="0" algn="r">
              <a:spcBef>
                <a:spcPts val="0"/>
              </a:spcBef>
              <a:buFontTx/>
              <a:buNone/>
              <a:defRPr sz="1200" baseline="0"/>
            </a:lvl1pPr>
            <a:lvl2pPr marL="457200" indent="0" algn="r">
              <a:buFontTx/>
              <a:buNone/>
              <a:defRPr sz="1200"/>
            </a:lvl2pPr>
            <a:lvl3pPr marL="914400" indent="0" algn="r">
              <a:buFontTx/>
              <a:buNone/>
              <a:defRPr sz="1200"/>
            </a:lvl3pPr>
            <a:lvl4pPr marL="1371600" indent="0" algn="r">
              <a:buFontTx/>
              <a:buNone/>
              <a:defRPr sz="1200"/>
            </a:lvl4pPr>
            <a:lvl5pPr marL="1828800" indent="0" algn="r">
              <a:buFontTx/>
              <a:buNone/>
              <a:defRPr sz="1200"/>
            </a:lvl5pPr>
          </a:lstStyle>
          <a:p>
            <a:pPr marL="0" marR="0" lvl="0" indent="0" algn="r" defTabSz="457200" rtl="0" eaLnBrk="1" fontAlgn="auto" latinLnBrk="0" hangingPunct="1">
              <a:lnSpc>
                <a:spcPct val="100000"/>
              </a:lnSpc>
              <a:spcBef>
                <a:spcPct val="20000"/>
              </a:spcBef>
              <a:spcAft>
                <a:spcPts val="0"/>
              </a:spcAft>
              <a:buClr>
                <a:srgbClr val="CD0920"/>
              </a:buClr>
              <a:buSzTx/>
              <a:buFontTx/>
              <a:buNone/>
              <a:tabLst/>
              <a:defRPr/>
            </a:pPr>
            <a:r>
              <a:rPr lang="en-US" dirty="0" smtClean="0"/>
              <a:t>Insert legal entity - classification level</a:t>
            </a:r>
            <a:endParaRPr lang="it-IT" dirty="0"/>
          </a:p>
        </p:txBody>
      </p:sp>
      <p:sp>
        <p:nvSpPr>
          <p:cNvPr id="28" name="Segnaposto testo 26"/>
          <p:cNvSpPr>
            <a:spLocks noGrp="1"/>
          </p:cNvSpPr>
          <p:nvPr>
            <p:ph type="body" sz="quarter" idx="14" hasCustomPrompt="1"/>
          </p:nvPr>
        </p:nvSpPr>
        <p:spPr>
          <a:xfrm>
            <a:off x="540000" y="3103200"/>
            <a:ext cx="5040000" cy="208800"/>
          </a:xfrm>
        </p:spPr>
        <p:txBody>
          <a:bodyPr anchor="t" anchorCtr="0">
            <a:noAutofit/>
          </a:bodyPr>
          <a:lstStyle>
            <a:lvl1pPr marL="0" indent="0">
              <a:lnSpc>
                <a:spcPct val="100000"/>
              </a:lnSpc>
              <a:spcBef>
                <a:spcPts val="0"/>
              </a:spcBef>
              <a:buFontTx/>
              <a:buNone/>
              <a:defRPr sz="1400" b="1" i="0" baseline="0">
                <a:latin typeface="UniCredit"/>
              </a:defRPr>
            </a:lvl1pPr>
          </a:lstStyle>
          <a:p>
            <a:pPr lvl="0"/>
            <a:r>
              <a:rPr lang="it-IT" dirty="0" err="1" smtClean="0"/>
              <a:t>Insert</a:t>
            </a:r>
            <a:r>
              <a:rPr lang="it-IT" dirty="0" smtClean="0"/>
              <a:t> </a:t>
            </a:r>
            <a:r>
              <a:rPr lang="it-IT" dirty="0" err="1" smtClean="0"/>
              <a:t>name</a:t>
            </a:r>
            <a:r>
              <a:rPr lang="it-IT" dirty="0" smtClean="0"/>
              <a:t> and </a:t>
            </a:r>
            <a:r>
              <a:rPr lang="it-IT" dirty="0" err="1" smtClean="0"/>
              <a:t>function</a:t>
            </a:r>
            <a:endParaRPr lang="en-GB" dirty="0"/>
          </a:p>
        </p:txBody>
      </p:sp>
      <p:sp>
        <p:nvSpPr>
          <p:cNvPr id="14" name="Segnaposto testo 26"/>
          <p:cNvSpPr>
            <a:spLocks noGrp="1"/>
          </p:cNvSpPr>
          <p:nvPr>
            <p:ph type="body" sz="quarter" idx="15" hasCustomPrompt="1"/>
          </p:nvPr>
        </p:nvSpPr>
        <p:spPr>
          <a:xfrm>
            <a:off x="540001" y="3396696"/>
            <a:ext cx="5039999" cy="208800"/>
          </a:xfrm>
        </p:spPr>
        <p:txBody>
          <a:bodyPr anchor="b" anchorCtr="0">
            <a:noAutofit/>
          </a:bodyPr>
          <a:lstStyle>
            <a:lvl1pPr marL="0" indent="0">
              <a:lnSpc>
                <a:spcPct val="100000"/>
              </a:lnSpc>
              <a:spcBef>
                <a:spcPts val="0"/>
              </a:spcBef>
              <a:buFontTx/>
              <a:buNone/>
              <a:defRPr sz="1200" b="1" i="0" baseline="0">
                <a:latin typeface="UniCredit"/>
              </a:defRPr>
            </a:lvl1pPr>
          </a:lstStyle>
          <a:p>
            <a:pPr lvl="0"/>
            <a:r>
              <a:rPr lang="it-IT" dirty="0" err="1" smtClean="0"/>
              <a:t>Insert</a:t>
            </a:r>
            <a:r>
              <a:rPr lang="it-IT" dirty="0" smtClean="0"/>
              <a:t> city and date</a:t>
            </a:r>
            <a:endParaRPr lang="en-GB" dirty="0"/>
          </a:p>
        </p:txBody>
      </p:sp>
      <p:pic>
        <p:nvPicPr>
          <p:cNvPr id="18" name="Picture 2" descr="\\Hofs\I&amp;C\UNICREDIT BRAND GUIDELINES\Logo UniCredit Bank\Logo\UCB_CMYK_3D_RO_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96914" y="3567108"/>
            <a:ext cx="2806848" cy="1355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650426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9" name="Titolo 1"/>
          <p:cNvSpPr>
            <a:spLocks noGrp="1"/>
          </p:cNvSpPr>
          <p:nvPr>
            <p:ph type="title" hasCustomPrompt="1"/>
          </p:nvPr>
        </p:nvSpPr>
        <p:spPr>
          <a:xfrm>
            <a:off x="269999" y="0"/>
            <a:ext cx="8680325" cy="720000"/>
          </a:xfrm>
        </p:spPr>
        <p:txBody>
          <a:bodyPr/>
          <a:lstStyle>
            <a:lvl1pPr>
              <a:defRPr/>
            </a:lvl1pPr>
          </a:lstStyle>
          <a:p>
            <a:r>
              <a:rPr lang="it-IT" dirty="0" err="1" smtClean="0"/>
              <a:t>Insert</a:t>
            </a:r>
            <a:r>
              <a:rPr lang="it-IT" dirty="0" smtClean="0"/>
              <a:t> agenda</a:t>
            </a:r>
            <a:endParaRPr lang="en-GB" dirty="0"/>
          </a:p>
        </p:txBody>
      </p:sp>
      <p:sp>
        <p:nvSpPr>
          <p:cNvPr id="10" name="Segnaposto numero diapositiva 5"/>
          <p:cNvSpPr>
            <a:spLocks noGrp="1"/>
          </p:cNvSpPr>
          <p:nvPr>
            <p:ph type="sldNum" sz="quarter" idx="4"/>
          </p:nvPr>
        </p:nvSpPr>
        <p:spPr>
          <a:xfrm>
            <a:off x="270000" y="4736167"/>
            <a:ext cx="277226" cy="263283"/>
          </a:xfrm>
          <a:prstGeom prst="rect">
            <a:avLst/>
          </a:prstGeom>
        </p:spPr>
        <p:txBody>
          <a:bodyPr vert="horz" lIns="0" tIns="0" rIns="0" bIns="0" rtlCol="0" anchor="ctr"/>
          <a:lstStyle>
            <a:lvl1pPr algn="l">
              <a:defRPr sz="900">
                <a:solidFill>
                  <a:srgbClr val="0092D1"/>
                </a:solidFill>
                <a:latin typeface="UniCredit"/>
              </a:defRPr>
            </a:lvl1pPr>
          </a:lstStyle>
          <a:p>
            <a:fld id="{9DEDD76A-7D96-6F4D-9EDC-9FC108E5A9F9}" type="slidenum">
              <a:rPr lang="en-GB" smtClean="0"/>
              <a:pPr/>
              <a:t>‹#›</a:t>
            </a:fld>
            <a:endParaRPr lang="en-GB" dirty="0"/>
          </a:p>
        </p:txBody>
      </p:sp>
      <p:sp>
        <p:nvSpPr>
          <p:cNvPr id="4" name="Segnaposto testo 3"/>
          <p:cNvSpPr>
            <a:spLocks noGrp="1"/>
          </p:cNvSpPr>
          <p:nvPr>
            <p:ph type="body" sz="quarter" idx="21" hasCustomPrompt="1"/>
          </p:nvPr>
        </p:nvSpPr>
        <p:spPr>
          <a:xfrm>
            <a:off x="3628955" y="4924800"/>
            <a:ext cx="1897955" cy="153888"/>
          </a:xfrm>
        </p:spPr>
        <p:txBody>
          <a:bodyPr wrap="none" anchor="t" anchorCtr="0">
            <a:spAutoFit/>
          </a:bodyPr>
          <a:lstStyle>
            <a:lvl1pPr marL="0" indent="0" algn="ctr">
              <a:spcBef>
                <a:spcPts val="0"/>
              </a:spcBef>
              <a:buFontTx/>
              <a:buNone/>
              <a:defRPr sz="1000"/>
            </a:lvl1pPr>
            <a:lvl2pPr marL="457200" indent="0" algn="r">
              <a:buFontTx/>
              <a:buNone/>
              <a:defRPr sz="1200"/>
            </a:lvl2pPr>
            <a:lvl3pPr marL="914400" indent="0" algn="r">
              <a:buFontTx/>
              <a:buNone/>
              <a:defRPr sz="1200"/>
            </a:lvl3pPr>
            <a:lvl4pPr marL="1371600" indent="0" algn="r">
              <a:buFontTx/>
              <a:buNone/>
              <a:defRPr sz="1200"/>
            </a:lvl4pPr>
            <a:lvl5pPr marL="1828800" indent="0" algn="r">
              <a:buFontTx/>
              <a:buNone/>
              <a:defRPr sz="1200"/>
            </a:lvl5pPr>
          </a:lstStyle>
          <a:p>
            <a:pPr lvl="0"/>
            <a:r>
              <a:rPr lang="en-US" dirty="0" smtClean="0"/>
              <a:t>Insert legal entity - classification level</a:t>
            </a:r>
            <a:endParaRPr lang="it-IT" dirty="0"/>
          </a:p>
        </p:txBody>
      </p:sp>
      <p:sp>
        <p:nvSpPr>
          <p:cNvPr id="5" name="Segnaposto testo 4"/>
          <p:cNvSpPr>
            <a:spLocks noGrp="1"/>
          </p:cNvSpPr>
          <p:nvPr>
            <p:ph type="body" sz="quarter" idx="22" hasCustomPrompt="1"/>
          </p:nvPr>
        </p:nvSpPr>
        <p:spPr>
          <a:xfrm>
            <a:off x="269875" y="946800"/>
            <a:ext cx="8683200" cy="3312000"/>
          </a:xfrm>
        </p:spPr>
        <p:txBody>
          <a:bodyPr anchor="ctr" anchorCtr="0">
            <a:normAutofit/>
          </a:bodyPr>
          <a:lstStyle>
            <a:lvl1pPr marL="265113" indent="-265113">
              <a:defRPr sz="1800"/>
            </a:lvl1pPr>
            <a:lvl2pPr>
              <a:defRPr sz="1800"/>
            </a:lvl2pPr>
            <a:lvl3pPr>
              <a:defRPr sz="1800"/>
            </a:lvl3pPr>
            <a:lvl4pPr>
              <a:defRPr sz="1800"/>
            </a:lvl4pPr>
            <a:lvl5pPr marL="1828800" indent="0">
              <a:buNone/>
              <a:defRPr sz="1800"/>
            </a:lvl5pPr>
          </a:lstStyle>
          <a:p>
            <a:pPr lvl="0"/>
            <a:r>
              <a:rPr lang="en-US" dirty="0" smtClean="0"/>
              <a:t>Chapter Title A</a:t>
            </a:r>
          </a:p>
          <a:p>
            <a:pPr lvl="1"/>
            <a:r>
              <a:rPr lang="en-US" dirty="0" smtClean="0"/>
              <a:t>Chapter Section Title A1</a:t>
            </a:r>
          </a:p>
          <a:p>
            <a:pPr lvl="2"/>
            <a:r>
              <a:rPr lang="en-US" dirty="0" smtClean="0"/>
              <a:t>Chapter Section Title A1a1</a:t>
            </a:r>
          </a:p>
          <a:p>
            <a:pPr lvl="3"/>
            <a:r>
              <a:rPr lang="en-US" dirty="0" smtClean="0"/>
              <a:t>Chapter Section Title A1a1</a:t>
            </a:r>
          </a:p>
          <a:p>
            <a:pPr lvl="1"/>
            <a:r>
              <a:rPr lang="en-US" dirty="0" smtClean="0"/>
              <a:t>Chapter Section Title A2</a:t>
            </a:r>
          </a:p>
          <a:p>
            <a:pPr lvl="0"/>
            <a:endParaRPr lang="en-US" dirty="0" smtClean="0"/>
          </a:p>
          <a:p>
            <a:pPr lvl="0"/>
            <a:r>
              <a:rPr lang="en-US" dirty="0" smtClean="0"/>
              <a:t>Chapter Title B</a:t>
            </a:r>
          </a:p>
          <a:p>
            <a:pPr lvl="0"/>
            <a:endParaRPr lang="en-US" dirty="0" smtClean="0"/>
          </a:p>
          <a:p>
            <a:pPr lvl="0"/>
            <a:r>
              <a:rPr lang="en-US" dirty="0" smtClean="0"/>
              <a:t>Chapter Title C</a:t>
            </a:r>
          </a:p>
        </p:txBody>
      </p:sp>
    </p:spTree>
    <p:extLst>
      <p:ext uri="{BB962C8B-B14F-4D97-AF65-F5344CB8AC3E}">
        <p14:creationId xmlns:p14="http://schemas.microsoft.com/office/powerpoint/2010/main" val="8440452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rnal Slide 1 Column Text">
    <p:spTree>
      <p:nvGrpSpPr>
        <p:cNvPr id="1" name=""/>
        <p:cNvGrpSpPr/>
        <p:nvPr/>
      </p:nvGrpSpPr>
      <p:grpSpPr>
        <a:xfrm>
          <a:off x="0" y="0"/>
          <a:ext cx="0" cy="0"/>
          <a:chOff x="0" y="0"/>
          <a:chExt cx="0" cy="0"/>
        </a:xfrm>
      </p:grpSpPr>
      <p:sp>
        <p:nvSpPr>
          <p:cNvPr id="9" name="Segnaposto testo 7"/>
          <p:cNvSpPr>
            <a:spLocks noGrp="1"/>
          </p:cNvSpPr>
          <p:nvPr>
            <p:ph type="body" sz="quarter" idx="13" hasCustomPrompt="1"/>
          </p:nvPr>
        </p:nvSpPr>
        <p:spPr>
          <a:xfrm>
            <a:off x="618442" y="4535196"/>
            <a:ext cx="7788959" cy="360000"/>
          </a:xfrm>
        </p:spPr>
        <p:txBody>
          <a:bodyPr>
            <a:noAutofit/>
          </a:bodyPr>
          <a:lstStyle>
            <a:lvl1pPr marL="0" indent="0" algn="just">
              <a:lnSpc>
                <a:spcPct val="100000"/>
              </a:lnSpc>
              <a:spcBef>
                <a:spcPts val="0"/>
              </a:spcBef>
              <a:buFontTx/>
              <a:buNone/>
              <a:defRPr sz="800"/>
            </a:lvl1pPr>
            <a:lvl2pPr marL="321755" indent="0">
              <a:buFontTx/>
              <a:buNone/>
              <a:defRPr/>
            </a:lvl2pPr>
            <a:lvl3pPr marL="644849" indent="0">
              <a:buFontTx/>
              <a:buNone/>
              <a:defRPr/>
            </a:lvl3pPr>
            <a:lvl4pPr marL="967945" indent="0">
              <a:buFontTx/>
              <a:buNone/>
              <a:defRPr/>
            </a:lvl4pPr>
            <a:lvl5pPr marL="1285677" indent="0">
              <a:buFontTx/>
              <a:buNone/>
              <a:defRPr/>
            </a:lvl5pPr>
          </a:lstStyle>
          <a:p>
            <a:pPr lvl="0"/>
            <a:r>
              <a:rPr lang="it-IT" dirty="0" err="1" smtClean="0"/>
              <a:t>Insert</a:t>
            </a:r>
            <a:r>
              <a:rPr lang="it-IT" dirty="0" smtClean="0"/>
              <a:t> note</a:t>
            </a:r>
            <a:endParaRPr lang="it-IT" dirty="0"/>
          </a:p>
        </p:txBody>
      </p:sp>
      <p:sp>
        <p:nvSpPr>
          <p:cNvPr id="13" name="Segnaposto contenuto 12"/>
          <p:cNvSpPr>
            <a:spLocks noGrp="1"/>
          </p:cNvSpPr>
          <p:nvPr>
            <p:ph sz="quarter" idx="14" hasCustomPrompt="1"/>
          </p:nvPr>
        </p:nvSpPr>
        <p:spPr>
          <a:xfrm>
            <a:off x="270000" y="945000"/>
            <a:ext cx="8680324" cy="3312000"/>
          </a:xfrm>
        </p:spPr>
        <p:txBody>
          <a:bodyPr/>
          <a:lstStyle>
            <a:lvl1pPr>
              <a:defRPr baseline="0"/>
            </a:lvl1pPr>
            <a:lvl2pPr>
              <a:defRPr/>
            </a:lvl2pPr>
            <a:lvl3pPr>
              <a:defRPr/>
            </a:lvl3pPr>
            <a:lvl4pPr>
              <a:defRPr/>
            </a:lvl4pPr>
            <a:lvl5pPr>
              <a:defRPr/>
            </a:lvl5pPr>
          </a:lstStyle>
          <a:p>
            <a:pPr lvl="0"/>
            <a:r>
              <a:rPr lang="it-IT" dirty="0" err="1" smtClean="0"/>
              <a:t>Insert</a:t>
            </a:r>
            <a:r>
              <a:rPr lang="it-IT" dirty="0" smtClean="0"/>
              <a:t> text</a:t>
            </a:r>
          </a:p>
          <a:p>
            <a:pPr lvl="1"/>
            <a:r>
              <a:rPr lang="it-IT" dirty="0" smtClean="0"/>
              <a:t>2° level</a:t>
            </a:r>
          </a:p>
          <a:p>
            <a:pPr lvl="2"/>
            <a:r>
              <a:rPr lang="it-IT" dirty="0" smtClean="0"/>
              <a:t>3° level</a:t>
            </a:r>
          </a:p>
          <a:p>
            <a:pPr lvl="3"/>
            <a:r>
              <a:rPr lang="it-IT" dirty="0" smtClean="0"/>
              <a:t>4° level</a:t>
            </a:r>
          </a:p>
          <a:p>
            <a:pPr lvl="4"/>
            <a:r>
              <a:rPr lang="it-IT" dirty="0" smtClean="0"/>
              <a:t>5° level</a:t>
            </a:r>
            <a:endParaRPr lang="en-GB" dirty="0"/>
          </a:p>
        </p:txBody>
      </p:sp>
      <p:sp>
        <p:nvSpPr>
          <p:cNvPr id="6" name="Segnaposto numero diapositiva 5"/>
          <p:cNvSpPr>
            <a:spLocks noGrp="1"/>
          </p:cNvSpPr>
          <p:nvPr>
            <p:ph type="sldNum" sz="quarter" idx="4"/>
          </p:nvPr>
        </p:nvSpPr>
        <p:spPr>
          <a:xfrm>
            <a:off x="270000" y="4736167"/>
            <a:ext cx="277226" cy="263283"/>
          </a:xfrm>
          <a:prstGeom prst="rect">
            <a:avLst/>
          </a:prstGeom>
        </p:spPr>
        <p:txBody>
          <a:bodyPr vert="horz" lIns="0" tIns="0" rIns="0" bIns="0" rtlCol="0" anchor="ctr"/>
          <a:lstStyle>
            <a:lvl1pPr algn="l">
              <a:defRPr sz="900">
                <a:solidFill>
                  <a:srgbClr val="0092D1"/>
                </a:solidFill>
                <a:latin typeface="UniCredit"/>
              </a:defRPr>
            </a:lvl1pPr>
          </a:lstStyle>
          <a:p>
            <a:fld id="{9DEDD76A-7D96-6F4D-9EDC-9FC108E5A9F9}" type="slidenum">
              <a:rPr lang="en-GB" smtClean="0"/>
              <a:pPr/>
              <a:t>‹#›</a:t>
            </a:fld>
            <a:endParaRPr lang="en-GB" dirty="0"/>
          </a:p>
        </p:txBody>
      </p:sp>
      <p:sp>
        <p:nvSpPr>
          <p:cNvPr id="10" name="Titolo 1"/>
          <p:cNvSpPr>
            <a:spLocks noGrp="1"/>
          </p:cNvSpPr>
          <p:nvPr>
            <p:ph type="title" hasCustomPrompt="1"/>
          </p:nvPr>
        </p:nvSpPr>
        <p:spPr>
          <a:xfrm>
            <a:off x="269999" y="0"/>
            <a:ext cx="8680325" cy="720000"/>
          </a:xfrm>
        </p:spPr>
        <p:txBody>
          <a:bodyPr/>
          <a:lstStyle>
            <a:lvl1pPr>
              <a:defRPr baseline="0"/>
            </a:lvl1pPr>
          </a:lstStyle>
          <a:p>
            <a:r>
              <a:rPr lang="it-IT" dirty="0" err="1" smtClean="0"/>
              <a:t>Insert</a:t>
            </a:r>
            <a:r>
              <a:rPr lang="it-IT" dirty="0" smtClean="0"/>
              <a:t> title</a:t>
            </a:r>
            <a:endParaRPr lang="en-GB" dirty="0"/>
          </a:p>
        </p:txBody>
      </p:sp>
      <p:sp>
        <p:nvSpPr>
          <p:cNvPr id="8" name="Segnaposto testo 3"/>
          <p:cNvSpPr>
            <a:spLocks noGrp="1"/>
          </p:cNvSpPr>
          <p:nvPr>
            <p:ph type="body" sz="quarter" idx="21" hasCustomPrompt="1"/>
          </p:nvPr>
        </p:nvSpPr>
        <p:spPr>
          <a:xfrm>
            <a:off x="3628800" y="4924800"/>
            <a:ext cx="1897955" cy="153888"/>
          </a:xfrm>
        </p:spPr>
        <p:txBody>
          <a:bodyPr wrap="none" anchor="t" anchorCtr="0">
            <a:spAutoFit/>
          </a:bodyPr>
          <a:lstStyle>
            <a:lvl1pPr marL="0" indent="0" algn="ctr">
              <a:spcBef>
                <a:spcPts val="0"/>
              </a:spcBef>
              <a:buFontTx/>
              <a:buNone/>
              <a:defRPr sz="1000"/>
            </a:lvl1pPr>
            <a:lvl2pPr marL="457200" indent="0" algn="r">
              <a:buFontTx/>
              <a:buNone/>
              <a:defRPr sz="1200"/>
            </a:lvl2pPr>
            <a:lvl3pPr marL="914400" indent="0" algn="r">
              <a:buFontTx/>
              <a:buNone/>
              <a:defRPr sz="1200"/>
            </a:lvl3pPr>
            <a:lvl4pPr marL="1371600" indent="0" algn="r">
              <a:buFontTx/>
              <a:buNone/>
              <a:defRPr sz="1200"/>
            </a:lvl4pPr>
            <a:lvl5pPr marL="1828800" indent="0" algn="r">
              <a:buFontTx/>
              <a:buNone/>
              <a:defRPr sz="1200"/>
            </a:lvl5pPr>
          </a:lstStyle>
          <a:p>
            <a:pPr lvl="0"/>
            <a:r>
              <a:rPr lang="en-US" dirty="0" smtClean="0"/>
              <a:t>Insert legal entity - classification level</a:t>
            </a:r>
            <a:endParaRPr lang="it-IT" dirty="0"/>
          </a:p>
        </p:txBody>
      </p:sp>
    </p:spTree>
    <p:extLst>
      <p:ext uri="{BB962C8B-B14F-4D97-AF65-F5344CB8AC3E}">
        <p14:creationId xmlns:p14="http://schemas.microsoft.com/office/powerpoint/2010/main" val="141119707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ernal Slide 2 Column Text">
    <p:spTree>
      <p:nvGrpSpPr>
        <p:cNvPr id="1" name=""/>
        <p:cNvGrpSpPr/>
        <p:nvPr/>
      </p:nvGrpSpPr>
      <p:grpSpPr>
        <a:xfrm>
          <a:off x="0" y="0"/>
          <a:ext cx="0" cy="0"/>
          <a:chOff x="0" y="0"/>
          <a:chExt cx="0" cy="0"/>
        </a:xfrm>
      </p:grpSpPr>
      <p:sp>
        <p:nvSpPr>
          <p:cNvPr id="2" name="Titolo 1"/>
          <p:cNvSpPr>
            <a:spLocks noGrp="1"/>
          </p:cNvSpPr>
          <p:nvPr>
            <p:ph type="title" hasCustomPrompt="1"/>
          </p:nvPr>
        </p:nvSpPr>
        <p:spPr>
          <a:xfrm>
            <a:off x="269999" y="0"/>
            <a:ext cx="8680325" cy="720000"/>
          </a:xfrm>
        </p:spPr>
        <p:txBody>
          <a:bodyPr/>
          <a:lstStyle>
            <a:lvl1pPr>
              <a:defRPr baseline="0"/>
            </a:lvl1pPr>
          </a:lstStyle>
          <a:p>
            <a:r>
              <a:rPr lang="it-IT" dirty="0" err="1" smtClean="0"/>
              <a:t>Insert</a:t>
            </a:r>
            <a:r>
              <a:rPr lang="it-IT" dirty="0" smtClean="0"/>
              <a:t> title</a:t>
            </a:r>
            <a:endParaRPr lang="en-GB" dirty="0"/>
          </a:p>
        </p:txBody>
      </p:sp>
      <p:sp>
        <p:nvSpPr>
          <p:cNvPr id="4" name="Segnaposto contenuto 3"/>
          <p:cNvSpPr>
            <a:spLocks noGrp="1"/>
          </p:cNvSpPr>
          <p:nvPr>
            <p:ph sz="half" idx="2" hasCustomPrompt="1"/>
          </p:nvPr>
        </p:nvSpPr>
        <p:spPr>
          <a:xfrm>
            <a:off x="270000" y="945000"/>
            <a:ext cx="4176000" cy="331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it-IT" dirty="0" err="1" smtClean="0"/>
              <a:t>Insert</a:t>
            </a:r>
            <a:r>
              <a:rPr lang="it-IT" dirty="0" smtClean="0"/>
              <a:t> text</a:t>
            </a:r>
          </a:p>
          <a:p>
            <a:pPr lvl="1"/>
            <a:r>
              <a:rPr lang="it-IT" dirty="0" smtClean="0"/>
              <a:t>2° level</a:t>
            </a:r>
          </a:p>
          <a:p>
            <a:pPr lvl="2"/>
            <a:r>
              <a:rPr lang="it-IT" dirty="0" smtClean="0"/>
              <a:t>3° level</a:t>
            </a:r>
          </a:p>
          <a:p>
            <a:pPr lvl="3"/>
            <a:r>
              <a:rPr lang="it-IT" dirty="0" smtClean="0"/>
              <a:t>4° level</a:t>
            </a:r>
          </a:p>
          <a:p>
            <a:pPr lvl="4"/>
            <a:r>
              <a:rPr lang="it-IT" dirty="0" smtClean="0"/>
              <a:t>5° level </a:t>
            </a:r>
            <a:endParaRPr lang="en-GB" dirty="0"/>
          </a:p>
        </p:txBody>
      </p:sp>
      <p:sp>
        <p:nvSpPr>
          <p:cNvPr id="6" name="Segnaposto contenuto 5"/>
          <p:cNvSpPr>
            <a:spLocks noGrp="1"/>
          </p:cNvSpPr>
          <p:nvPr>
            <p:ph sz="quarter" idx="4" hasCustomPrompt="1"/>
          </p:nvPr>
        </p:nvSpPr>
        <p:spPr>
          <a:xfrm>
            <a:off x="4778574" y="945000"/>
            <a:ext cx="4176000" cy="331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it-IT" dirty="0" err="1" smtClean="0"/>
              <a:t>Insert</a:t>
            </a:r>
            <a:r>
              <a:rPr lang="it-IT" dirty="0" smtClean="0"/>
              <a:t> text</a:t>
            </a:r>
          </a:p>
          <a:p>
            <a:pPr lvl="1"/>
            <a:r>
              <a:rPr lang="it-IT" dirty="0" smtClean="0"/>
              <a:t>2° level</a:t>
            </a:r>
          </a:p>
          <a:p>
            <a:pPr lvl="2"/>
            <a:r>
              <a:rPr lang="it-IT" dirty="0" smtClean="0"/>
              <a:t>3° level</a:t>
            </a:r>
          </a:p>
          <a:p>
            <a:pPr lvl="3"/>
            <a:r>
              <a:rPr lang="it-IT" dirty="0" smtClean="0"/>
              <a:t>4° level</a:t>
            </a:r>
          </a:p>
          <a:p>
            <a:pPr lvl="4"/>
            <a:r>
              <a:rPr lang="it-IT" dirty="0" smtClean="0"/>
              <a:t>5° level </a:t>
            </a:r>
            <a:endParaRPr lang="en-GB" dirty="0"/>
          </a:p>
        </p:txBody>
      </p:sp>
      <p:sp>
        <p:nvSpPr>
          <p:cNvPr id="7" name="Segnaposto testo 7"/>
          <p:cNvSpPr>
            <a:spLocks noGrp="1"/>
          </p:cNvSpPr>
          <p:nvPr>
            <p:ph type="body" sz="quarter" idx="13" hasCustomPrompt="1"/>
          </p:nvPr>
        </p:nvSpPr>
        <p:spPr>
          <a:xfrm>
            <a:off x="618442" y="4536000"/>
            <a:ext cx="7788959" cy="360000"/>
          </a:xfrm>
        </p:spPr>
        <p:txBody>
          <a:bodyPr>
            <a:noAutofit/>
          </a:bodyPr>
          <a:lstStyle>
            <a:lvl1pPr marL="0" indent="0" algn="just">
              <a:lnSpc>
                <a:spcPct val="100000"/>
              </a:lnSpc>
              <a:spcBef>
                <a:spcPts val="0"/>
              </a:spcBef>
              <a:buFontTx/>
              <a:buNone/>
              <a:defRPr sz="800"/>
            </a:lvl1pPr>
            <a:lvl2pPr marL="321755" indent="0">
              <a:buFontTx/>
              <a:buNone/>
              <a:defRPr/>
            </a:lvl2pPr>
            <a:lvl3pPr marL="644849" indent="0">
              <a:buFontTx/>
              <a:buNone/>
              <a:defRPr/>
            </a:lvl3pPr>
            <a:lvl4pPr marL="967945" indent="0">
              <a:buFontTx/>
              <a:buNone/>
              <a:defRPr/>
            </a:lvl4pPr>
            <a:lvl5pPr marL="1285677" indent="0">
              <a:buFontTx/>
              <a:buNone/>
              <a:defRPr/>
            </a:lvl5pPr>
          </a:lstStyle>
          <a:p>
            <a:pPr lvl="0"/>
            <a:r>
              <a:rPr lang="it-IT" dirty="0" err="1" smtClean="0"/>
              <a:t>Insert</a:t>
            </a:r>
            <a:r>
              <a:rPr lang="it-IT" dirty="0" smtClean="0"/>
              <a:t> note</a:t>
            </a:r>
            <a:endParaRPr lang="it-IT" dirty="0"/>
          </a:p>
        </p:txBody>
      </p:sp>
      <p:sp>
        <p:nvSpPr>
          <p:cNvPr id="8" name="Segnaposto numero diapositiva 5"/>
          <p:cNvSpPr>
            <a:spLocks noGrp="1"/>
          </p:cNvSpPr>
          <p:nvPr>
            <p:ph type="sldNum" sz="quarter" idx="14"/>
          </p:nvPr>
        </p:nvSpPr>
        <p:spPr>
          <a:xfrm>
            <a:off x="270000" y="4736167"/>
            <a:ext cx="277226" cy="263283"/>
          </a:xfrm>
          <a:prstGeom prst="rect">
            <a:avLst/>
          </a:prstGeom>
        </p:spPr>
        <p:txBody>
          <a:bodyPr vert="horz" lIns="0" tIns="0" rIns="0" bIns="0" rtlCol="0" anchor="ctr"/>
          <a:lstStyle>
            <a:lvl1pPr algn="l">
              <a:defRPr sz="900">
                <a:solidFill>
                  <a:srgbClr val="0092D1"/>
                </a:solidFill>
                <a:latin typeface="UniCredit"/>
              </a:defRPr>
            </a:lvl1pPr>
          </a:lstStyle>
          <a:p>
            <a:fld id="{9DEDD76A-7D96-6F4D-9EDC-9FC108E5A9F9}" type="slidenum">
              <a:rPr lang="en-GB" smtClean="0"/>
              <a:pPr/>
              <a:t>‹#›</a:t>
            </a:fld>
            <a:endParaRPr lang="en-GB" dirty="0"/>
          </a:p>
        </p:txBody>
      </p:sp>
      <p:sp>
        <p:nvSpPr>
          <p:cNvPr id="10" name="Segnaposto testo 3"/>
          <p:cNvSpPr>
            <a:spLocks noGrp="1"/>
          </p:cNvSpPr>
          <p:nvPr>
            <p:ph type="body" sz="quarter" idx="21" hasCustomPrompt="1"/>
          </p:nvPr>
        </p:nvSpPr>
        <p:spPr>
          <a:xfrm>
            <a:off x="3628800" y="4924800"/>
            <a:ext cx="1897955" cy="153888"/>
          </a:xfrm>
        </p:spPr>
        <p:txBody>
          <a:bodyPr wrap="none" anchor="t" anchorCtr="0">
            <a:spAutoFit/>
          </a:bodyPr>
          <a:lstStyle>
            <a:lvl1pPr marL="0" indent="0" algn="ctr">
              <a:spcBef>
                <a:spcPts val="0"/>
              </a:spcBef>
              <a:buFontTx/>
              <a:buNone/>
              <a:defRPr sz="1000"/>
            </a:lvl1pPr>
            <a:lvl2pPr marL="457200" indent="0" algn="r">
              <a:buFontTx/>
              <a:buNone/>
              <a:defRPr sz="1200"/>
            </a:lvl2pPr>
            <a:lvl3pPr marL="914400" indent="0" algn="r">
              <a:buFontTx/>
              <a:buNone/>
              <a:defRPr sz="1200"/>
            </a:lvl3pPr>
            <a:lvl4pPr marL="1371600" indent="0" algn="r">
              <a:buFontTx/>
              <a:buNone/>
              <a:defRPr sz="1200"/>
            </a:lvl4pPr>
            <a:lvl5pPr marL="1828800" indent="0" algn="r">
              <a:buFontTx/>
              <a:buNone/>
              <a:defRPr sz="1200"/>
            </a:lvl5pPr>
          </a:lstStyle>
          <a:p>
            <a:pPr marL="0" marR="0" lvl="0" indent="0" algn="ctr" defTabSz="457200" rtl="0" eaLnBrk="1" fontAlgn="auto" latinLnBrk="0" hangingPunct="1">
              <a:lnSpc>
                <a:spcPct val="100000"/>
              </a:lnSpc>
              <a:spcBef>
                <a:spcPct val="20000"/>
              </a:spcBef>
              <a:spcAft>
                <a:spcPts val="0"/>
              </a:spcAft>
              <a:buClr>
                <a:srgbClr val="CD0920"/>
              </a:buClr>
              <a:buSzTx/>
              <a:buFontTx/>
              <a:buNone/>
              <a:tabLst/>
              <a:defRPr/>
            </a:pPr>
            <a:r>
              <a:rPr lang="en-US" dirty="0" smtClean="0"/>
              <a:t>Insert legal entity - classification level</a:t>
            </a:r>
            <a:endParaRPr lang="it-IT" dirty="0"/>
          </a:p>
        </p:txBody>
      </p:sp>
    </p:spTree>
    <p:extLst>
      <p:ext uri="{BB962C8B-B14F-4D97-AF65-F5344CB8AC3E}">
        <p14:creationId xmlns:p14="http://schemas.microsoft.com/office/powerpoint/2010/main" val="3084031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ernal Slide Half Picture Half Text">
    <p:spTree>
      <p:nvGrpSpPr>
        <p:cNvPr id="1" name=""/>
        <p:cNvGrpSpPr/>
        <p:nvPr/>
      </p:nvGrpSpPr>
      <p:grpSpPr>
        <a:xfrm>
          <a:off x="0" y="0"/>
          <a:ext cx="0" cy="0"/>
          <a:chOff x="0" y="0"/>
          <a:chExt cx="0" cy="0"/>
        </a:xfrm>
      </p:grpSpPr>
      <p:sp>
        <p:nvSpPr>
          <p:cNvPr id="4" name="Segnaposto immagine 3"/>
          <p:cNvSpPr>
            <a:spLocks noGrp="1"/>
          </p:cNvSpPr>
          <p:nvPr>
            <p:ph type="pic" sz="quarter" idx="15" hasCustomPrompt="1"/>
          </p:nvPr>
        </p:nvSpPr>
        <p:spPr>
          <a:xfrm>
            <a:off x="0" y="730800"/>
            <a:ext cx="5791200" cy="4423500"/>
          </a:xfrm>
        </p:spPr>
        <p:txBody>
          <a:bodyPr anchor="ctr" anchorCtr="1"/>
          <a:lstStyle>
            <a:lvl1pPr>
              <a:defRPr/>
            </a:lvl1pPr>
          </a:lstStyle>
          <a:p>
            <a:r>
              <a:rPr lang="en-GB" dirty="0" smtClean="0"/>
              <a:t>Insert image</a:t>
            </a:r>
            <a:endParaRPr lang="en-GB" dirty="0"/>
          </a:p>
        </p:txBody>
      </p:sp>
      <p:sp>
        <p:nvSpPr>
          <p:cNvPr id="2" name="Titolo 1"/>
          <p:cNvSpPr>
            <a:spLocks noGrp="1"/>
          </p:cNvSpPr>
          <p:nvPr>
            <p:ph type="title" hasCustomPrompt="1"/>
          </p:nvPr>
        </p:nvSpPr>
        <p:spPr>
          <a:xfrm>
            <a:off x="269999" y="0"/>
            <a:ext cx="8680325" cy="720000"/>
          </a:xfrm>
        </p:spPr>
        <p:txBody>
          <a:bodyPr/>
          <a:lstStyle>
            <a:lvl1pPr>
              <a:defRPr/>
            </a:lvl1pPr>
          </a:lstStyle>
          <a:p>
            <a:r>
              <a:rPr lang="it-IT" dirty="0" err="1" smtClean="0"/>
              <a:t>Insert</a:t>
            </a:r>
            <a:r>
              <a:rPr lang="it-IT" dirty="0" smtClean="0"/>
              <a:t> title</a:t>
            </a:r>
            <a:endParaRPr lang="en-GB" dirty="0"/>
          </a:p>
        </p:txBody>
      </p:sp>
      <p:sp>
        <p:nvSpPr>
          <p:cNvPr id="8" name="Segnaposto numero diapositiva 5"/>
          <p:cNvSpPr>
            <a:spLocks noGrp="1"/>
          </p:cNvSpPr>
          <p:nvPr>
            <p:ph type="sldNum" sz="quarter" idx="4"/>
          </p:nvPr>
        </p:nvSpPr>
        <p:spPr>
          <a:xfrm>
            <a:off x="270000" y="4736167"/>
            <a:ext cx="277226" cy="263283"/>
          </a:xfrm>
          <a:prstGeom prst="rect">
            <a:avLst/>
          </a:prstGeom>
        </p:spPr>
        <p:txBody>
          <a:bodyPr vert="horz" lIns="0" tIns="0" rIns="0" bIns="0" rtlCol="0" anchor="ctr"/>
          <a:lstStyle>
            <a:lvl1pPr algn="l">
              <a:defRPr sz="900">
                <a:solidFill>
                  <a:srgbClr val="0092D1"/>
                </a:solidFill>
                <a:latin typeface="UniCredit"/>
              </a:defRPr>
            </a:lvl1pPr>
          </a:lstStyle>
          <a:p>
            <a:fld id="{9DEDD76A-7D96-6F4D-9EDC-9FC108E5A9F9}" type="slidenum">
              <a:rPr lang="en-GB" smtClean="0"/>
              <a:pPr/>
              <a:t>‹#›</a:t>
            </a:fld>
            <a:endParaRPr lang="en-GB" dirty="0"/>
          </a:p>
        </p:txBody>
      </p:sp>
      <p:sp>
        <p:nvSpPr>
          <p:cNvPr id="11" name="Segnaposto testo 8"/>
          <p:cNvSpPr>
            <a:spLocks noGrp="1"/>
          </p:cNvSpPr>
          <p:nvPr>
            <p:ph type="body" sz="quarter" idx="14" hasCustomPrompt="1"/>
          </p:nvPr>
        </p:nvSpPr>
        <p:spPr>
          <a:xfrm>
            <a:off x="5981699" y="945000"/>
            <a:ext cx="2968625" cy="3528000"/>
          </a:xfrm>
        </p:spPr>
        <p:txBody>
          <a:bodyPr anchor="ctr" anchorCtr="0"/>
          <a:lstStyle/>
          <a:p>
            <a:pPr lvl="0"/>
            <a:r>
              <a:rPr lang="it-IT" dirty="0" err="1" smtClean="0"/>
              <a:t>Insert</a:t>
            </a:r>
            <a:r>
              <a:rPr lang="it-IT" dirty="0" smtClean="0"/>
              <a:t> text</a:t>
            </a:r>
          </a:p>
          <a:p>
            <a:pPr lvl="1"/>
            <a:r>
              <a:rPr lang="it-IT" dirty="0" smtClean="0"/>
              <a:t>2° level</a:t>
            </a:r>
          </a:p>
          <a:p>
            <a:pPr lvl="2"/>
            <a:r>
              <a:rPr lang="it-IT" dirty="0" smtClean="0"/>
              <a:t>3° level</a:t>
            </a:r>
          </a:p>
          <a:p>
            <a:pPr lvl="3"/>
            <a:r>
              <a:rPr lang="it-IT" dirty="0" smtClean="0"/>
              <a:t>4° level</a:t>
            </a:r>
          </a:p>
          <a:p>
            <a:pPr lvl="4"/>
            <a:r>
              <a:rPr lang="it-IT" dirty="0" smtClean="0"/>
              <a:t>5° level </a:t>
            </a:r>
            <a:endParaRPr lang="en-GB" dirty="0"/>
          </a:p>
        </p:txBody>
      </p:sp>
      <p:sp>
        <p:nvSpPr>
          <p:cNvPr id="7" name="Segnaposto testo 3"/>
          <p:cNvSpPr>
            <a:spLocks noGrp="1"/>
          </p:cNvSpPr>
          <p:nvPr>
            <p:ph type="body" sz="quarter" idx="21" hasCustomPrompt="1"/>
          </p:nvPr>
        </p:nvSpPr>
        <p:spPr>
          <a:xfrm>
            <a:off x="3628800" y="4924800"/>
            <a:ext cx="1897955" cy="153888"/>
          </a:xfrm>
        </p:spPr>
        <p:txBody>
          <a:bodyPr wrap="none" anchor="t" anchorCtr="0">
            <a:spAutoFit/>
          </a:bodyPr>
          <a:lstStyle>
            <a:lvl1pPr marL="0" indent="0" algn="ctr">
              <a:spcBef>
                <a:spcPts val="0"/>
              </a:spcBef>
              <a:buFontTx/>
              <a:buNone/>
              <a:defRPr sz="1000"/>
            </a:lvl1pPr>
            <a:lvl2pPr marL="457200" indent="0" algn="r">
              <a:buFontTx/>
              <a:buNone/>
              <a:defRPr sz="1200"/>
            </a:lvl2pPr>
            <a:lvl3pPr marL="914400" indent="0" algn="r">
              <a:buFontTx/>
              <a:buNone/>
              <a:defRPr sz="1200"/>
            </a:lvl3pPr>
            <a:lvl4pPr marL="1371600" indent="0" algn="r">
              <a:buFontTx/>
              <a:buNone/>
              <a:defRPr sz="1200"/>
            </a:lvl4pPr>
            <a:lvl5pPr marL="1828800" indent="0" algn="r">
              <a:buFontTx/>
              <a:buNone/>
              <a:defRPr sz="1200"/>
            </a:lvl5pPr>
          </a:lstStyle>
          <a:p>
            <a:pPr lvl="0"/>
            <a:r>
              <a:rPr lang="en-US" dirty="0" smtClean="0"/>
              <a:t>Insert legal entity - classification level</a:t>
            </a:r>
            <a:endParaRPr lang="it-IT" dirty="0"/>
          </a:p>
        </p:txBody>
      </p:sp>
    </p:spTree>
    <p:extLst>
      <p:ext uri="{BB962C8B-B14F-4D97-AF65-F5344CB8AC3E}">
        <p14:creationId xmlns:p14="http://schemas.microsoft.com/office/powerpoint/2010/main" val="49942443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Internal Slide Picture Only 2">
    <p:bg>
      <p:bgPr>
        <a:solidFill>
          <a:schemeClr val="bg1"/>
        </a:solidFill>
        <a:effectLst/>
      </p:bgPr>
    </p:bg>
    <p:spTree>
      <p:nvGrpSpPr>
        <p:cNvPr id="1" name=""/>
        <p:cNvGrpSpPr/>
        <p:nvPr/>
      </p:nvGrpSpPr>
      <p:grpSpPr>
        <a:xfrm>
          <a:off x="0" y="0"/>
          <a:ext cx="0" cy="0"/>
          <a:chOff x="0" y="0"/>
          <a:chExt cx="0" cy="0"/>
        </a:xfrm>
      </p:grpSpPr>
      <p:sp>
        <p:nvSpPr>
          <p:cNvPr id="13" name="Segnaposto immagine 12"/>
          <p:cNvSpPr>
            <a:spLocks noGrp="1"/>
          </p:cNvSpPr>
          <p:nvPr>
            <p:ph type="pic" sz="quarter" idx="10" hasCustomPrompt="1"/>
          </p:nvPr>
        </p:nvSpPr>
        <p:spPr>
          <a:xfrm>
            <a:off x="0" y="730800"/>
            <a:ext cx="9144000" cy="4423500"/>
          </a:xfrm>
        </p:spPr>
        <p:txBody>
          <a:bodyPr anchor="ctr" anchorCtr="0"/>
          <a:lstStyle>
            <a:lvl1pPr algn="ctr">
              <a:defRPr/>
            </a:lvl1pPr>
          </a:lstStyle>
          <a:p>
            <a:r>
              <a:rPr lang="en-GB" dirty="0" smtClean="0"/>
              <a:t>Insert image</a:t>
            </a:r>
            <a:endParaRPr lang="en-GB" dirty="0"/>
          </a:p>
        </p:txBody>
      </p:sp>
      <p:sp>
        <p:nvSpPr>
          <p:cNvPr id="9" name="Line 9"/>
          <p:cNvSpPr>
            <a:spLocks noChangeShapeType="1"/>
          </p:cNvSpPr>
          <p:nvPr userDrawn="1"/>
        </p:nvSpPr>
        <p:spPr bwMode="auto">
          <a:xfrm>
            <a:off x="0" y="720000"/>
            <a:ext cx="9144000" cy="0"/>
          </a:xfrm>
          <a:prstGeom prst="line">
            <a:avLst/>
          </a:prstGeom>
          <a:noFill/>
          <a:ln w="19050">
            <a:solidFill>
              <a:srgbClr val="2EAEDA"/>
            </a:solidFill>
            <a:round/>
            <a:headEnd/>
            <a:tailEnd type="none" w="med" len="lg"/>
          </a:ln>
          <a:extLst>
            <a:ext uri="{909E8E84-426E-40DD-AFC4-6F175D3DCCD1}">
              <a14:hiddenFill xmlns:a14="http://schemas.microsoft.com/office/drawing/2010/main">
                <a:noFill/>
              </a14:hiddenFill>
            </a:ext>
          </a:extLst>
        </p:spPr>
        <p:txBody>
          <a:bodyPr lIns="0" tIns="0" rIns="0" bIns="0" anchor="ctr">
            <a:spAutoFit/>
          </a:bodyPr>
          <a:lstStyle/>
          <a:p>
            <a:endParaRPr lang="it-IT" dirty="0">
              <a:latin typeface="UniCredit"/>
              <a:ea typeface="UniCredit"/>
              <a:cs typeface="UniCredit"/>
            </a:endParaRPr>
          </a:p>
        </p:txBody>
      </p:sp>
      <p:sp>
        <p:nvSpPr>
          <p:cNvPr id="5" name="Titolo 1"/>
          <p:cNvSpPr>
            <a:spLocks noGrp="1"/>
          </p:cNvSpPr>
          <p:nvPr>
            <p:ph type="title" hasCustomPrompt="1"/>
          </p:nvPr>
        </p:nvSpPr>
        <p:spPr>
          <a:xfrm>
            <a:off x="269999" y="0"/>
            <a:ext cx="8680325" cy="720000"/>
          </a:xfrm>
        </p:spPr>
        <p:txBody>
          <a:bodyPr/>
          <a:lstStyle>
            <a:lvl1pPr>
              <a:defRPr/>
            </a:lvl1pPr>
          </a:lstStyle>
          <a:p>
            <a:r>
              <a:rPr lang="it-IT" dirty="0" err="1" smtClean="0"/>
              <a:t>Insert</a:t>
            </a:r>
            <a:r>
              <a:rPr lang="it-IT" dirty="0" smtClean="0"/>
              <a:t> title</a:t>
            </a:r>
            <a:endParaRPr lang="en-GB" dirty="0"/>
          </a:p>
        </p:txBody>
      </p:sp>
      <p:sp>
        <p:nvSpPr>
          <p:cNvPr id="7" name="Segnaposto testo 3"/>
          <p:cNvSpPr>
            <a:spLocks noGrp="1"/>
          </p:cNvSpPr>
          <p:nvPr>
            <p:ph type="body" sz="quarter" idx="21" hasCustomPrompt="1"/>
          </p:nvPr>
        </p:nvSpPr>
        <p:spPr>
          <a:xfrm>
            <a:off x="3628800" y="4924800"/>
            <a:ext cx="1897955" cy="153888"/>
          </a:xfrm>
        </p:spPr>
        <p:txBody>
          <a:bodyPr wrap="none" anchor="t" anchorCtr="0">
            <a:spAutoFit/>
          </a:bodyPr>
          <a:lstStyle>
            <a:lvl1pPr marL="0" indent="0" algn="ctr">
              <a:spcBef>
                <a:spcPts val="0"/>
              </a:spcBef>
              <a:buFontTx/>
              <a:buNone/>
              <a:defRPr sz="1000"/>
            </a:lvl1pPr>
            <a:lvl2pPr marL="457200" indent="0" algn="r">
              <a:buFontTx/>
              <a:buNone/>
              <a:defRPr sz="1200"/>
            </a:lvl2pPr>
            <a:lvl3pPr marL="914400" indent="0" algn="r">
              <a:buFontTx/>
              <a:buNone/>
              <a:defRPr sz="1200"/>
            </a:lvl3pPr>
            <a:lvl4pPr marL="1371600" indent="0" algn="r">
              <a:buFontTx/>
              <a:buNone/>
              <a:defRPr sz="1200"/>
            </a:lvl4pPr>
            <a:lvl5pPr marL="1828800" indent="0" algn="r">
              <a:buFontTx/>
              <a:buNone/>
              <a:defRPr sz="1200"/>
            </a:lvl5pPr>
          </a:lstStyle>
          <a:p>
            <a:pPr lvl="0"/>
            <a:r>
              <a:rPr lang="en-US" dirty="0" smtClean="0"/>
              <a:t>Insert legal entity - classification level</a:t>
            </a:r>
            <a:endParaRPr lang="it-IT" dirty="0"/>
          </a:p>
        </p:txBody>
      </p:sp>
      <p:sp>
        <p:nvSpPr>
          <p:cNvPr id="8" name="Segnaposto contenuto 2"/>
          <p:cNvSpPr>
            <a:spLocks noGrp="1"/>
          </p:cNvSpPr>
          <p:nvPr>
            <p:ph sz="quarter" idx="11" hasCustomPrompt="1"/>
          </p:nvPr>
        </p:nvSpPr>
        <p:spPr bwMode="gray">
          <a:xfrm>
            <a:off x="8593200" y="4604400"/>
            <a:ext cx="360000" cy="360000"/>
          </a:xfrm>
          <a:blipFill dpi="0" rotWithShape="1">
            <a:blip r:embed="rId2"/>
            <a:srcRect/>
            <a:stretch>
              <a:fillRect/>
            </a:stretch>
          </a:blipFill>
        </p:spPr>
        <p:txBody>
          <a:bodyPr anchor="ctr" anchorCtr="0">
            <a:noAutofit/>
          </a:bodyPr>
          <a:lstStyle>
            <a:lvl1pPr marL="0" indent="0" algn="ctr">
              <a:buFontTx/>
              <a:buNone/>
              <a:defRPr sz="1400" b="1">
                <a:noFill/>
              </a:defRPr>
            </a:lvl1pPr>
            <a:lvl2pPr marL="457200" indent="0">
              <a:buFontTx/>
              <a:buNone/>
              <a:defRPr sz="1400" b="1"/>
            </a:lvl2pPr>
            <a:lvl3pPr marL="914400" indent="0">
              <a:buFontTx/>
              <a:buNone/>
              <a:defRPr sz="1400" b="1"/>
            </a:lvl3pPr>
            <a:lvl4pPr marL="1371600" indent="0">
              <a:buFontTx/>
              <a:buNone/>
              <a:defRPr sz="1400" b="1"/>
            </a:lvl4pPr>
            <a:lvl5pPr marL="1828800" indent="0">
              <a:buFontTx/>
              <a:buNone/>
              <a:defRPr sz="1400" b="1"/>
            </a:lvl5pPr>
          </a:lstStyle>
          <a:p>
            <a:pPr lvl="0"/>
            <a:r>
              <a:rPr lang="it-IT" dirty="0" smtClean="0"/>
              <a:t>Sphere</a:t>
            </a:r>
            <a:endParaRPr lang="it-IT" dirty="0"/>
          </a:p>
        </p:txBody>
      </p:sp>
    </p:spTree>
    <p:extLst>
      <p:ext uri="{BB962C8B-B14F-4D97-AF65-F5344CB8AC3E}">
        <p14:creationId xmlns:p14="http://schemas.microsoft.com/office/powerpoint/2010/main" val="151131720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Internal Slide Picture Only 1">
    <p:bg>
      <p:bgPr>
        <a:solidFill>
          <a:schemeClr val="bg1"/>
        </a:solidFill>
        <a:effectLst/>
      </p:bgPr>
    </p:bg>
    <p:spTree>
      <p:nvGrpSpPr>
        <p:cNvPr id="1" name=""/>
        <p:cNvGrpSpPr/>
        <p:nvPr/>
      </p:nvGrpSpPr>
      <p:grpSpPr>
        <a:xfrm>
          <a:off x="0" y="0"/>
          <a:ext cx="0" cy="0"/>
          <a:chOff x="0" y="0"/>
          <a:chExt cx="0" cy="0"/>
        </a:xfrm>
      </p:grpSpPr>
      <p:sp>
        <p:nvSpPr>
          <p:cNvPr id="6" name="Segnaposto immagine 5"/>
          <p:cNvSpPr>
            <a:spLocks noGrp="1"/>
          </p:cNvSpPr>
          <p:nvPr>
            <p:ph type="pic" sz="quarter" idx="10" hasCustomPrompt="1"/>
          </p:nvPr>
        </p:nvSpPr>
        <p:spPr>
          <a:xfrm>
            <a:off x="0" y="0"/>
            <a:ext cx="9144000" cy="5148000"/>
          </a:xfrm>
        </p:spPr>
        <p:txBody>
          <a:bodyPr anchor="ctr" anchorCtr="0"/>
          <a:lstStyle>
            <a:lvl1pPr algn="ctr">
              <a:defRPr/>
            </a:lvl1pPr>
          </a:lstStyle>
          <a:p>
            <a:r>
              <a:rPr lang="en-GB" dirty="0" smtClean="0"/>
              <a:t>Insert image</a:t>
            </a:r>
            <a:endParaRPr lang="en-GB" dirty="0"/>
          </a:p>
        </p:txBody>
      </p:sp>
      <p:sp>
        <p:nvSpPr>
          <p:cNvPr id="7" name="Titolo 1"/>
          <p:cNvSpPr>
            <a:spLocks noGrp="1"/>
          </p:cNvSpPr>
          <p:nvPr>
            <p:ph type="title" hasCustomPrompt="1"/>
          </p:nvPr>
        </p:nvSpPr>
        <p:spPr bwMode="gray">
          <a:xfrm>
            <a:off x="1080000" y="621804"/>
            <a:ext cx="3896242" cy="1102908"/>
          </a:xfrm>
        </p:spPr>
        <p:txBody>
          <a:bodyPr anchor="t" anchorCtr="0"/>
          <a:lstStyle>
            <a:lvl1pPr>
              <a:lnSpc>
                <a:spcPts val="3200"/>
              </a:lnSpc>
              <a:defRPr sz="3600">
                <a:solidFill>
                  <a:schemeClr val="tx1"/>
                </a:solidFill>
              </a:defRPr>
            </a:lvl1pPr>
          </a:lstStyle>
          <a:p>
            <a:r>
              <a:rPr lang="it-IT" dirty="0" err="1" smtClean="0"/>
              <a:t>Insert</a:t>
            </a:r>
            <a:r>
              <a:rPr lang="it-IT" dirty="0" smtClean="0"/>
              <a:t> title</a:t>
            </a:r>
            <a:endParaRPr lang="it-IT" dirty="0"/>
          </a:p>
        </p:txBody>
      </p:sp>
      <p:sp>
        <p:nvSpPr>
          <p:cNvPr id="9" name="Segnaposto testo 3"/>
          <p:cNvSpPr>
            <a:spLocks noGrp="1"/>
          </p:cNvSpPr>
          <p:nvPr>
            <p:ph type="body" sz="quarter" idx="21" hasCustomPrompt="1"/>
          </p:nvPr>
        </p:nvSpPr>
        <p:spPr>
          <a:xfrm>
            <a:off x="3628800" y="4924800"/>
            <a:ext cx="1897955" cy="153888"/>
          </a:xfrm>
        </p:spPr>
        <p:txBody>
          <a:bodyPr wrap="none" anchor="t" anchorCtr="0">
            <a:spAutoFit/>
          </a:bodyPr>
          <a:lstStyle>
            <a:lvl1pPr marL="0" indent="0" algn="ctr">
              <a:spcBef>
                <a:spcPts val="0"/>
              </a:spcBef>
              <a:buFontTx/>
              <a:buNone/>
              <a:defRPr sz="1000"/>
            </a:lvl1pPr>
            <a:lvl2pPr marL="457200" indent="0" algn="r">
              <a:buFontTx/>
              <a:buNone/>
              <a:defRPr sz="1200"/>
            </a:lvl2pPr>
            <a:lvl3pPr marL="914400" indent="0" algn="r">
              <a:buFontTx/>
              <a:buNone/>
              <a:defRPr sz="1200"/>
            </a:lvl3pPr>
            <a:lvl4pPr marL="1371600" indent="0" algn="r">
              <a:buFontTx/>
              <a:buNone/>
              <a:defRPr sz="1200"/>
            </a:lvl4pPr>
            <a:lvl5pPr marL="1828800" indent="0" algn="r">
              <a:buFontTx/>
              <a:buNone/>
              <a:defRPr sz="1200"/>
            </a:lvl5pPr>
          </a:lstStyle>
          <a:p>
            <a:pPr lvl="0"/>
            <a:r>
              <a:rPr lang="en-US" dirty="0" smtClean="0"/>
              <a:t>Insert legal entity - classification level</a:t>
            </a:r>
            <a:endParaRPr lang="it-IT" dirty="0"/>
          </a:p>
        </p:txBody>
      </p:sp>
      <p:sp>
        <p:nvSpPr>
          <p:cNvPr id="10" name="Segnaposto contenuto 2"/>
          <p:cNvSpPr>
            <a:spLocks noGrp="1"/>
          </p:cNvSpPr>
          <p:nvPr>
            <p:ph sz="quarter" idx="11" hasCustomPrompt="1"/>
          </p:nvPr>
        </p:nvSpPr>
        <p:spPr bwMode="gray">
          <a:xfrm>
            <a:off x="8593200" y="4604400"/>
            <a:ext cx="360000" cy="360000"/>
          </a:xfrm>
          <a:blipFill dpi="0" rotWithShape="1">
            <a:blip r:embed="rId2"/>
            <a:srcRect/>
            <a:stretch>
              <a:fillRect/>
            </a:stretch>
          </a:blipFill>
        </p:spPr>
        <p:txBody>
          <a:bodyPr anchor="ctr" anchorCtr="0">
            <a:noAutofit/>
          </a:bodyPr>
          <a:lstStyle>
            <a:lvl1pPr marL="0" indent="0" algn="ctr">
              <a:buFontTx/>
              <a:buNone/>
              <a:defRPr sz="1400" b="1">
                <a:noFill/>
              </a:defRPr>
            </a:lvl1pPr>
            <a:lvl2pPr marL="457200" indent="0">
              <a:buFontTx/>
              <a:buNone/>
              <a:defRPr sz="1400" b="1"/>
            </a:lvl2pPr>
            <a:lvl3pPr marL="914400" indent="0">
              <a:buFontTx/>
              <a:buNone/>
              <a:defRPr sz="1400" b="1"/>
            </a:lvl3pPr>
            <a:lvl4pPr marL="1371600" indent="0">
              <a:buFontTx/>
              <a:buNone/>
              <a:defRPr sz="1400" b="1"/>
            </a:lvl4pPr>
            <a:lvl5pPr marL="1828800" indent="0">
              <a:buFontTx/>
              <a:buNone/>
              <a:defRPr sz="1400" b="1"/>
            </a:lvl5pPr>
          </a:lstStyle>
          <a:p>
            <a:pPr lvl="0"/>
            <a:r>
              <a:rPr lang="it-IT" dirty="0" smtClean="0"/>
              <a:t>Sphere</a:t>
            </a:r>
            <a:endParaRPr lang="it-IT" dirty="0"/>
          </a:p>
        </p:txBody>
      </p:sp>
    </p:spTree>
    <p:extLst>
      <p:ext uri="{BB962C8B-B14F-4D97-AF65-F5344CB8AC3E}">
        <p14:creationId xmlns:p14="http://schemas.microsoft.com/office/powerpoint/2010/main" val="3310873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Internal Slide Picture Only 3">
    <p:bg bwMode="auto">
      <p:bgRef idx="1001">
        <a:schemeClr val="bg1"/>
      </p:bgRef>
    </p:bg>
    <p:spTree>
      <p:nvGrpSpPr>
        <p:cNvPr id="1" name=""/>
        <p:cNvGrpSpPr/>
        <p:nvPr/>
      </p:nvGrpSpPr>
      <p:grpSpPr>
        <a:xfrm>
          <a:off x="0" y="0"/>
          <a:ext cx="0" cy="0"/>
          <a:chOff x="0" y="0"/>
          <a:chExt cx="0" cy="0"/>
        </a:xfrm>
      </p:grpSpPr>
      <p:sp>
        <p:nvSpPr>
          <p:cNvPr id="13" name="Segnaposto immagine 12"/>
          <p:cNvSpPr>
            <a:spLocks noGrp="1"/>
          </p:cNvSpPr>
          <p:nvPr>
            <p:ph type="pic" sz="quarter" idx="10" hasCustomPrompt="1"/>
          </p:nvPr>
        </p:nvSpPr>
        <p:spPr>
          <a:xfrm>
            <a:off x="0" y="0"/>
            <a:ext cx="9144000" cy="3895200"/>
          </a:xfrm>
        </p:spPr>
        <p:txBody>
          <a:bodyPr anchor="ctr" anchorCtr="0"/>
          <a:lstStyle>
            <a:lvl1pPr algn="ctr">
              <a:defRPr/>
            </a:lvl1pPr>
          </a:lstStyle>
          <a:p>
            <a:r>
              <a:rPr lang="en-GB" dirty="0" smtClean="0"/>
              <a:t>Insert image</a:t>
            </a:r>
            <a:endParaRPr lang="en-GB" dirty="0"/>
          </a:p>
        </p:txBody>
      </p:sp>
      <p:sp>
        <p:nvSpPr>
          <p:cNvPr id="10" name="Rettangolo 9"/>
          <p:cNvSpPr/>
          <p:nvPr userDrawn="1"/>
        </p:nvSpPr>
        <p:spPr bwMode="gray">
          <a:xfrm>
            <a:off x="3" y="3889887"/>
            <a:ext cx="9145421" cy="1260000"/>
          </a:xfrm>
          <a:prstGeom prst="rect">
            <a:avLst/>
          </a:prstGeom>
          <a:gradFill flip="none" rotWithShape="1">
            <a:gsLst>
              <a:gs pos="11000">
                <a:schemeClr val="bg1">
                  <a:alpha val="78000"/>
                </a:schemeClr>
              </a:gs>
              <a:gs pos="100000">
                <a:srgbClr val="2EAEDA">
                  <a:alpha val="78000"/>
                </a:srgbClr>
              </a:gs>
            </a:gsLst>
            <a:path path="circle">
              <a:fillToRect l="100000" t="100000"/>
            </a:path>
            <a:tileRect r="-100000" b="-10000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772211" rtl="0" eaLnBrk="0" fontAlgn="base" latinLnBrk="0" hangingPunct="0">
              <a:lnSpc>
                <a:spcPct val="100000"/>
              </a:lnSpc>
              <a:spcBef>
                <a:spcPct val="0"/>
              </a:spcBef>
              <a:spcAft>
                <a:spcPct val="0"/>
              </a:spcAft>
              <a:buClrTx/>
              <a:buSzTx/>
              <a:buFontTx/>
              <a:buNone/>
              <a:tabLst/>
            </a:pPr>
            <a:endParaRPr kumimoji="0" lang="it-IT" sz="1000" b="0" i="0" u="sng" strike="noStrike" cap="none" normalizeH="0" baseline="0" dirty="0">
              <a:ln>
                <a:noFill/>
              </a:ln>
              <a:solidFill>
                <a:schemeClr val="tx1"/>
              </a:solidFill>
              <a:effectLst/>
              <a:latin typeface="UniCredit"/>
              <a:ea typeface="UniCredit"/>
              <a:cs typeface="UniCredit"/>
            </a:endParaRPr>
          </a:p>
        </p:txBody>
      </p:sp>
      <p:sp>
        <p:nvSpPr>
          <p:cNvPr id="11" name="Titolo 1"/>
          <p:cNvSpPr>
            <a:spLocks noGrp="1"/>
          </p:cNvSpPr>
          <p:nvPr>
            <p:ph type="title" hasCustomPrompt="1"/>
          </p:nvPr>
        </p:nvSpPr>
        <p:spPr>
          <a:xfrm>
            <a:off x="540000" y="4168800"/>
            <a:ext cx="7779600" cy="734138"/>
          </a:xfrm>
        </p:spPr>
        <p:txBody>
          <a:bodyPr anchor="ctr" anchorCtr="0"/>
          <a:lstStyle>
            <a:lvl1pPr>
              <a:lnSpc>
                <a:spcPts val="3200"/>
              </a:lnSpc>
              <a:defRPr sz="3600" baseline="0"/>
            </a:lvl1pPr>
          </a:lstStyle>
          <a:p>
            <a:r>
              <a:rPr lang="it-IT" dirty="0" err="1" smtClean="0"/>
              <a:t>Insert</a:t>
            </a:r>
            <a:r>
              <a:rPr lang="it-IT" dirty="0" smtClean="0"/>
              <a:t> title</a:t>
            </a:r>
            <a:endParaRPr lang="it-IT" dirty="0"/>
          </a:p>
        </p:txBody>
      </p:sp>
      <p:sp>
        <p:nvSpPr>
          <p:cNvPr id="6" name="Segnaposto testo 3"/>
          <p:cNvSpPr>
            <a:spLocks noGrp="1"/>
          </p:cNvSpPr>
          <p:nvPr>
            <p:ph type="body" sz="quarter" idx="21" hasCustomPrompt="1"/>
          </p:nvPr>
        </p:nvSpPr>
        <p:spPr>
          <a:xfrm>
            <a:off x="3628800" y="4924800"/>
            <a:ext cx="1897955" cy="153888"/>
          </a:xfrm>
        </p:spPr>
        <p:txBody>
          <a:bodyPr wrap="none" anchor="t" anchorCtr="0">
            <a:spAutoFit/>
          </a:bodyPr>
          <a:lstStyle>
            <a:lvl1pPr marL="0" indent="0" algn="ctr">
              <a:spcBef>
                <a:spcPts val="0"/>
              </a:spcBef>
              <a:buFontTx/>
              <a:buNone/>
              <a:defRPr sz="1000"/>
            </a:lvl1pPr>
            <a:lvl2pPr marL="457200" indent="0" algn="r">
              <a:buFontTx/>
              <a:buNone/>
              <a:defRPr sz="1200"/>
            </a:lvl2pPr>
            <a:lvl3pPr marL="914400" indent="0" algn="r">
              <a:buFontTx/>
              <a:buNone/>
              <a:defRPr sz="1200"/>
            </a:lvl3pPr>
            <a:lvl4pPr marL="1371600" indent="0" algn="r">
              <a:buFontTx/>
              <a:buNone/>
              <a:defRPr sz="1200"/>
            </a:lvl4pPr>
            <a:lvl5pPr marL="1828800" indent="0" algn="r">
              <a:buFontTx/>
              <a:buNone/>
              <a:defRPr sz="1200"/>
            </a:lvl5pPr>
          </a:lstStyle>
          <a:p>
            <a:pPr lvl="0"/>
            <a:r>
              <a:rPr lang="en-US" dirty="0" smtClean="0"/>
              <a:t>Insert legal entity - classification level</a:t>
            </a:r>
            <a:endParaRPr lang="it-IT" dirty="0"/>
          </a:p>
        </p:txBody>
      </p:sp>
      <p:pic>
        <p:nvPicPr>
          <p:cNvPr id="7" name="Immagine 6" descr="sfere 2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93200" y="4603824"/>
            <a:ext cx="359676" cy="359676"/>
          </a:xfrm>
          <a:prstGeom prst="rect">
            <a:avLst/>
          </a:prstGeom>
        </p:spPr>
      </p:pic>
    </p:spTree>
    <p:extLst>
      <p:ext uri="{BB962C8B-B14F-4D97-AF65-F5344CB8AC3E}">
        <p14:creationId xmlns:p14="http://schemas.microsoft.com/office/powerpoint/2010/main" val="331705978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269999" y="0"/>
            <a:ext cx="8680325" cy="720000"/>
          </a:xfrm>
          <a:prstGeom prst="rect">
            <a:avLst/>
          </a:prstGeom>
        </p:spPr>
        <p:txBody>
          <a:bodyPr vert="horz" wrap="square" lIns="0" tIns="0" rIns="0" bIns="0" rtlCol="0" anchor="ctr" anchorCtr="0">
            <a:noAutofit/>
          </a:bodyPr>
          <a:lstStyle/>
          <a:p>
            <a:r>
              <a:rPr lang="it-IT" dirty="0" err="1" smtClean="0"/>
              <a:t>Insert</a:t>
            </a:r>
            <a:r>
              <a:rPr lang="it-IT" dirty="0" smtClean="0"/>
              <a:t> title</a:t>
            </a:r>
            <a:endParaRPr lang="en-GB" dirty="0"/>
          </a:p>
        </p:txBody>
      </p:sp>
      <p:sp>
        <p:nvSpPr>
          <p:cNvPr id="3" name="Segnaposto testo 2"/>
          <p:cNvSpPr>
            <a:spLocks noGrp="1"/>
          </p:cNvSpPr>
          <p:nvPr>
            <p:ph type="body" idx="1"/>
          </p:nvPr>
        </p:nvSpPr>
        <p:spPr>
          <a:xfrm>
            <a:off x="270000" y="945000"/>
            <a:ext cx="8680324" cy="3312000"/>
          </a:xfrm>
          <a:prstGeom prst="rect">
            <a:avLst/>
          </a:prstGeom>
        </p:spPr>
        <p:txBody>
          <a:bodyPr vert="horz" lIns="0" tIns="0" rIns="0" bIns="0" rtlCol="0">
            <a:normAutofit/>
          </a:bodyPr>
          <a:lstStyle/>
          <a:p>
            <a:pPr lvl="0"/>
            <a:r>
              <a:rPr lang="it-IT" dirty="0" err="1" smtClean="0"/>
              <a:t>Insert</a:t>
            </a:r>
            <a:r>
              <a:rPr lang="it-IT" dirty="0" smtClean="0"/>
              <a:t> text</a:t>
            </a:r>
          </a:p>
          <a:p>
            <a:pPr lvl="1"/>
            <a:r>
              <a:rPr lang="it-IT" dirty="0" smtClean="0"/>
              <a:t>2° level</a:t>
            </a:r>
          </a:p>
          <a:p>
            <a:pPr lvl="2"/>
            <a:r>
              <a:rPr lang="it-IT" dirty="0" smtClean="0"/>
              <a:t>3° level</a:t>
            </a:r>
          </a:p>
          <a:p>
            <a:pPr lvl="3"/>
            <a:r>
              <a:rPr lang="it-IT" dirty="0" smtClean="0"/>
              <a:t>4° level</a:t>
            </a:r>
          </a:p>
          <a:p>
            <a:pPr lvl="4"/>
            <a:r>
              <a:rPr lang="it-IT" dirty="0" smtClean="0"/>
              <a:t>5° level</a:t>
            </a:r>
            <a:endParaRPr lang="en-GB" dirty="0"/>
          </a:p>
        </p:txBody>
      </p:sp>
      <p:sp>
        <p:nvSpPr>
          <p:cNvPr id="7" name="Line 9"/>
          <p:cNvSpPr>
            <a:spLocks noChangeShapeType="1"/>
          </p:cNvSpPr>
          <p:nvPr userDrawn="1"/>
        </p:nvSpPr>
        <p:spPr bwMode="auto">
          <a:xfrm>
            <a:off x="0" y="720000"/>
            <a:ext cx="9144000" cy="0"/>
          </a:xfrm>
          <a:prstGeom prst="line">
            <a:avLst/>
          </a:prstGeom>
          <a:noFill/>
          <a:ln w="19050">
            <a:solidFill>
              <a:srgbClr val="00AFD0"/>
            </a:solidFill>
            <a:round/>
            <a:headEnd/>
            <a:tailEnd type="none" w="med" len="lg"/>
          </a:ln>
          <a:extLst>
            <a:ext uri="{909E8E84-426E-40DD-AFC4-6F175D3DCCD1}">
              <a14:hiddenFill xmlns:a14="http://schemas.microsoft.com/office/drawing/2010/main">
                <a:noFill/>
              </a14:hiddenFill>
            </a:ext>
          </a:extLst>
        </p:spPr>
        <p:txBody>
          <a:bodyPr lIns="0" tIns="0" rIns="0" bIns="0" anchor="ctr">
            <a:spAutoFit/>
          </a:bodyPr>
          <a:lstStyle/>
          <a:p>
            <a:endParaRPr lang="it-IT" dirty="0">
              <a:latin typeface="UniCredit"/>
            </a:endParaRPr>
          </a:p>
        </p:txBody>
      </p:sp>
      <p:sp>
        <p:nvSpPr>
          <p:cNvPr id="14" name="Segnaposto numero diapositiva 5"/>
          <p:cNvSpPr>
            <a:spLocks noGrp="1"/>
          </p:cNvSpPr>
          <p:nvPr>
            <p:ph type="sldNum" sz="quarter" idx="4"/>
          </p:nvPr>
        </p:nvSpPr>
        <p:spPr>
          <a:xfrm>
            <a:off x="270000" y="4736167"/>
            <a:ext cx="277226" cy="263283"/>
          </a:xfrm>
          <a:prstGeom prst="rect">
            <a:avLst/>
          </a:prstGeom>
        </p:spPr>
        <p:txBody>
          <a:bodyPr vert="horz" lIns="0" tIns="0" rIns="0" bIns="0" rtlCol="0" anchor="ctr"/>
          <a:lstStyle>
            <a:lvl1pPr algn="l">
              <a:defRPr sz="900">
                <a:solidFill>
                  <a:srgbClr val="0092D1"/>
                </a:solidFill>
                <a:latin typeface="UniCredit"/>
              </a:defRPr>
            </a:lvl1pPr>
          </a:lstStyle>
          <a:p>
            <a:fld id="{9DEDD76A-7D96-6F4D-9EDC-9FC108E5A9F9}" type="slidenum">
              <a:rPr lang="en-GB" smtClean="0"/>
              <a:pPr/>
              <a:t>‹#›</a:t>
            </a:fld>
            <a:endParaRPr lang="en-GB" dirty="0"/>
          </a:p>
        </p:txBody>
      </p:sp>
      <p:pic>
        <p:nvPicPr>
          <p:cNvPr id="4" name="Immagine 3" descr="sfere 2D.png"/>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593200" y="4603824"/>
            <a:ext cx="359676" cy="359676"/>
          </a:xfrm>
          <a:prstGeom prst="rect">
            <a:avLst/>
          </a:prstGeom>
        </p:spPr>
      </p:pic>
      <p:sp>
        <p:nvSpPr>
          <p:cNvPr id="5" name="fc"/>
          <p:cNvSpPr txBox="1"/>
          <p:nvPr userDrawn="1"/>
        </p:nvSpPr>
        <p:spPr bwMode="gray">
          <a:xfrm>
            <a:off x="0" y="4950460"/>
            <a:ext cx="9144000" cy="223138"/>
          </a:xfrm>
          <a:prstGeom prst="rect">
            <a:avLst/>
          </a:prstGeom>
          <a:noFill/>
        </p:spPr>
        <p:txBody>
          <a:bodyPr vert="horz" wrap="square" rtlCol="0">
            <a:spAutoFit/>
          </a:bodyPr>
          <a:lstStyle/>
          <a:p>
            <a:pPr algn="ctr"/>
            <a:endParaRPr lang="en-US" sz="850" b="0" i="0" u="none" baseline="0" dirty="0">
              <a:solidFill>
                <a:srgbClr val="000000"/>
              </a:solidFill>
              <a:latin typeface="arial unicode ms"/>
            </a:endParaRPr>
          </a:p>
        </p:txBody>
      </p:sp>
      <p:sp>
        <p:nvSpPr>
          <p:cNvPr id="6" name="fl"/>
          <p:cNvSpPr txBox="1"/>
          <p:nvPr userDrawn="1"/>
        </p:nvSpPr>
        <p:spPr bwMode="gray">
          <a:xfrm>
            <a:off x="0" y="4805680"/>
            <a:ext cx="9144000" cy="369332"/>
          </a:xfrm>
          <a:prstGeom prst="rect">
            <a:avLst/>
          </a:prstGeom>
          <a:noFill/>
        </p:spPr>
        <p:txBody>
          <a:bodyPr vert="horz" wrap="square" rtlCol="0">
            <a:spAutoFit/>
          </a:bodyPr>
          <a:lstStyle/>
          <a:p>
            <a:endParaRPr lang="en-US" dirty="0">
              <a:solidFill>
                <a:schemeClr val="tx1"/>
              </a:solidFill>
            </a:endParaRPr>
          </a:p>
        </p:txBody>
      </p:sp>
    </p:spTree>
    <p:extLst>
      <p:ext uri="{BB962C8B-B14F-4D97-AF65-F5344CB8AC3E}">
        <p14:creationId xmlns:p14="http://schemas.microsoft.com/office/powerpoint/2010/main" val="1192627142"/>
      </p:ext>
    </p:extLst>
  </p:cSld>
  <p:clrMap bg1="lt1" tx1="dk1" bg2="lt2" tx2="dk2" accent1="accent1" accent2="accent2" accent3="accent3" accent4="accent4" accent5="accent5" accent6="accent6" hlink="hlink" folHlink="folHlink"/>
  <p:sldLayoutIdLst>
    <p:sldLayoutId id="2147483662" r:id="rId1"/>
    <p:sldLayoutId id="2147483665" r:id="rId2"/>
    <p:sldLayoutId id="2147483651" r:id="rId3"/>
    <p:sldLayoutId id="2147483652" r:id="rId4"/>
    <p:sldLayoutId id="2147483653" r:id="rId5"/>
    <p:sldLayoutId id="2147483664" r:id="rId6"/>
    <p:sldLayoutId id="2147483656" r:id="rId7"/>
    <p:sldLayoutId id="2147483655" r:id="rId8"/>
    <p:sldLayoutId id="2147483657" r:id="rId9"/>
    <p:sldLayoutId id="2147483667" r:id="rId10"/>
    <p:sldLayoutId id="2147483668" r:id="rId11"/>
  </p:sldLayoutIdLst>
  <p:timing>
    <p:tnLst>
      <p:par>
        <p:cTn id="1" dur="indefinite" restart="never" nodeType="tmRoot"/>
      </p:par>
    </p:tnLst>
  </p:timing>
  <p:hf hdr="0" ftr="0" dt="0"/>
  <p:txStyles>
    <p:titleStyle>
      <a:lvl1pPr algn="l" defTabSz="457200" rtl="0" eaLnBrk="1" latinLnBrk="0" hangingPunct="1">
        <a:lnSpc>
          <a:spcPts val="2400"/>
        </a:lnSpc>
        <a:spcBef>
          <a:spcPct val="0"/>
        </a:spcBef>
        <a:buNone/>
        <a:defRPr sz="2400" b="1" i="0" kern="1200">
          <a:solidFill>
            <a:schemeClr val="tx1"/>
          </a:solidFill>
          <a:latin typeface="UniCredit"/>
          <a:ea typeface="+mj-ea"/>
          <a:cs typeface="UniCredit"/>
        </a:defRPr>
      </a:lvl1pPr>
    </p:titleStyle>
    <p:bodyStyle>
      <a:lvl1pPr marL="176213" indent="-176213" algn="l" defTabSz="457200" rtl="0" eaLnBrk="1" latinLnBrk="0" hangingPunct="1">
        <a:spcBef>
          <a:spcPct val="20000"/>
        </a:spcBef>
        <a:buClr>
          <a:srgbClr val="E1061C"/>
        </a:buClr>
        <a:buFont typeface="Arial"/>
        <a:buChar char="•"/>
        <a:defRPr sz="1600" kern="1200">
          <a:solidFill>
            <a:schemeClr val="tx1"/>
          </a:solidFill>
          <a:latin typeface="UniCredit"/>
          <a:ea typeface="+mn-ea"/>
          <a:cs typeface="+mn-cs"/>
        </a:defRPr>
      </a:lvl1pPr>
      <a:lvl2pPr marL="627063" indent="-169863" algn="l" defTabSz="457200" rtl="0" eaLnBrk="1" latinLnBrk="0" hangingPunct="1">
        <a:spcBef>
          <a:spcPct val="20000"/>
        </a:spcBef>
        <a:buClr>
          <a:srgbClr val="E1061C"/>
        </a:buClr>
        <a:buFont typeface="Arial"/>
        <a:buChar char="•"/>
        <a:defRPr sz="1600" kern="1200">
          <a:solidFill>
            <a:schemeClr val="tx1"/>
          </a:solidFill>
          <a:latin typeface="UniCredit"/>
          <a:ea typeface="+mn-ea"/>
          <a:cs typeface="+mn-cs"/>
        </a:defRPr>
      </a:lvl2pPr>
      <a:lvl3pPr marL="1079500" indent="-165100" algn="l" defTabSz="457200" rtl="0" eaLnBrk="1" latinLnBrk="0" hangingPunct="1">
        <a:spcBef>
          <a:spcPct val="20000"/>
        </a:spcBef>
        <a:buClr>
          <a:srgbClr val="E1061C"/>
        </a:buClr>
        <a:buFont typeface="Arial"/>
        <a:buChar char="•"/>
        <a:defRPr sz="1600" kern="1200">
          <a:solidFill>
            <a:schemeClr val="tx1"/>
          </a:solidFill>
          <a:latin typeface="UniCredit"/>
          <a:ea typeface="+mn-ea"/>
          <a:cs typeface="+mn-cs"/>
        </a:defRPr>
      </a:lvl3pPr>
      <a:lvl4pPr marL="1522413" indent="-150813" algn="l" defTabSz="457200" rtl="0" eaLnBrk="1" latinLnBrk="0" hangingPunct="1">
        <a:spcBef>
          <a:spcPct val="20000"/>
        </a:spcBef>
        <a:buClr>
          <a:srgbClr val="E1061C"/>
        </a:buClr>
        <a:buFont typeface="Arial"/>
        <a:buChar char="•"/>
        <a:defRPr sz="1600" kern="1200">
          <a:solidFill>
            <a:schemeClr val="tx1"/>
          </a:solidFill>
          <a:latin typeface="UniCredit"/>
          <a:ea typeface="+mn-ea"/>
          <a:cs typeface="+mn-cs"/>
        </a:defRPr>
      </a:lvl4pPr>
      <a:lvl5pPr marL="1973263" indent="-144463" algn="l" defTabSz="457200" rtl="0" eaLnBrk="1" latinLnBrk="0" hangingPunct="1">
        <a:spcBef>
          <a:spcPct val="20000"/>
        </a:spcBef>
        <a:buClr>
          <a:srgbClr val="E1061C"/>
        </a:buClr>
        <a:buFont typeface="Arial"/>
        <a:buChar char="•"/>
        <a:defRPr sz="1600" kern="1200">
          <a:solidFill>
            <a:schemeClr val="tx1"/>
          </a:solidFill>
          <a:latin typeface="UniCredi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68" Type="http://schemas.openxmlformats.org/officeDocument/2006/relationships/tags" Target="../tags/tag68.xml"/><Relationship Id="rId76" Type="http://schemas.openxmlformats.org/officeDocument/2006/relationships/tags" Target="../tags/tag76.xml"/><Relationship Id="rId84" Type="http://schemas.openxmlformats.org/officeDocument/2006/relationships/image" Target="../media/image10.jpeg"/><Relationship Id="rId89" Type="http://schemas.openxmlformats.org/officeDocument/2006/relationships/image" Target="../media/image15.png"/><Relationship Id="rId7" Type="http://schemas.openxmlformats.org/officeDocument/2006/relationships/tags" Target="../tags/tag7.xml"/><Relationship Id="rId71" Type="http://schemas.openxmlformats.org/officeDocument/2006/relationships/tags" Target="../tags/tag71.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tags" Target="../tags/tag74.xml"/><Relationship Id="rId79" Type="http://schemas.openxmlformats.org/officeDocument/2006/relationships/image" Target="../media/image5.jpeg"/><Relationship Id="rId87" Type="http://schemas.openxmlformats.org/officeDocument/2006/relationships/image" Target="../media/image13.jpeg"/><Relationship Id="rId5" Type="http://schemas.openxmlformats.org/officeDocument/2006/relationships/tags" Target="../tags/tag5.xml"/><Relationship Id="rId61" Type="http://schemas.openxmlformats.org/officeDocument/2006/relationships/tags" Target="../tags/tag61.xml"/><Relationship Id="rId82" Type="http://schemas.openxmlformats.org/officeDocument/2006/relationships/image" Target="../media/image8.jpeg"/><Relationship Id="rId90" Type="http://schemas.openxmlformats.org/officeDocument/2006/relationships/image" Target="../media/image16.png"/><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image" Target="../media/image6.jpeg"/><Relationship Id="rId85" Type="http://schemas.openxmlformats.org/officeDocument/2006/relationships/image" Target="../media/image11.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image" Target="../media/image9.png"/><Relationship Id="rId88" Type="http://schemas.openxmlformats.org/officeDocument/2006/relationships/image" Target="../media/image14.png"/><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slideLayout" Target="../slideLayouts/slideLayout11.xml"/><Relationship Id="rId81" Type="http://schemas.openxmlformats.org/officeDocument/2006/relationships/image" Target="../media/image7.png"/><Relationship Id="rId86"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slideLayout" Target="../slideLayouts/slideLayout4.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tags" Target="../tags/tag89.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tags" Target="../tags/tag88.xml"/><Relationship Id="rId5" Type="http://schemas.openxmlformats.org/officeDocument/2006/relationships/tags" Target="../tags/tag82.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hyperlink" Target="mailto:fondurieuropene@unicredit.ro" TargetMode="External"/><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8"/>
          </p:nvPr>
        </p:nvPicPr>
        <p:blipFill>
          <a:blip r:embed="rId2" cstate="screen">
            <a:extLst>
              <a:ext uri="{28A0092B-C50C-407E-A947-70E740481C1C}">
                <a14:useLocalDpi xmlns:a14="http://schemas.microsoft.com/office/drawing/2010/main"/>
              </a:ext>
            </a:extLst>
          </a:blip>
          <a:srcRect/>
          <a:stretch>
            <a:fillRect/>
          </a:stretch>
        </p:blipFill>
        <p:spPr/>
      </p:pic>
      <p:sp>
        <p:nvSpPr>
          <p:cNvPr id="3" name="Segnaposto testo 2"/>
          <p:cNvSpPr>
            <a:spLocks noGrp="1"/>
          </p:cNvSpPr>
          <p:nvPr>
            <p:ph type="body" sz="quarter" idx="13"/>
          </p:nvPr>
        </p:nvSpPr>
        <p:spPr>
          <a:xfrm>
            <a:off x="539999" y="2065595"/>
            <a:ext cx="8283325" cy="831226"/>
          </a:xfrm>
        </p:spPr>
        <p:txBody>
          <a:bodyPr/>
          <a:lstStyle/>
          <a:p>
            <a:endParaRPr lang="ro-RO" sz="2400" dirty="0">
              <a:solidFill>
                <a:schemeClr val="bg1"/>
              </a:solidFill>
              <a:effectLst>
                <a:outerShdw blurRad="38100" dist="38100" dir="2700000" algn="tl">
                  <a:srgbClr val="000000">
                    <a:alpha val="43137"/>
                  </a:srgbClr>
                </a:outerShdw>
              </a:effectLst>
            </a:endParaRPr>
          </a:p>
          <a:p>
            <a:r>
              <a:rPr lang="it-IT" sz="2400" dirty="0">
                <a:solidFill>
                  <a:schemeClr val="bg1"/>
                </a:solidFill>
              </a:rPr>
              <a:t>UNICREDIT BANK – PARTENER CU EXPERIENTA IN FONDURI EUROPENE</a:t>
            </a:r>
            <a:endParaRPr lang="it-IT" sz="2400" dirty="0">
              <a:solidFill>
                <a:schemeClr val="bg1"/>
              </a:solidFill>
            </a:endParaRPr>
          </a:p>
        </p:txBody>
      </p:sp>
      <p:sp>
        <p:nvSpPr>
          <p:cNvPr id="4" name="Segnaposto testo 3"/>
          <p:cNvSpPr>
            <a:spLocks noGrp="1"/>
          </p:cNvSpPr>
          <p:nvPr>
            <p:ph type="body" sz="quarter" idx="15"/>
          </p:nvPr>
        </p:nvSpPr>
        <p:spPr>
          <a:xfrm>
            <a:off x="545990" y="3394800"/>
            <a:ext cx="5039999" cy="208800"/>
          </a:xfrm>
        </p:spPr>
        <p:txBody>
          <a:bodyPr/>
          <a:lstStyle/>
          <a:p>
            <a:r>
              <a:rPr lang="en-US" dirty="0" err="1" smtClean="0"/>
              <a:t>Cluj</a:t>
            </a:r>
            <a:r>
              <a:rPr lang="en-US" dirty="0" smtClean="0"/>
              <a:t>, </a:t>
            </a:r>
            <a:r>
              <a:rPr lang="en-US" dirty="0" smtClean="0"/>
              <a:t>2017</a:t>
            </a:r>
            <a:endParaRPr lang="en-US" dirty="0"/>
          </a:p>
        </p:txBody>
      </p:sp>
      <p:sp>
        <p:nvSpPr>
          <p:cNvPr id="7" name="Segnaposto contenuto 6"/>
          <p:cNvSpPr>
            <a:spLocks noGrp="1"/>
          </p:cNvSpPr>
          <p:nvPr>
            <p:ph sz="quarter" idx="21"/>
          </p:nvPr>
        </p:nvSpPr>
        <p:spPr/>
        <p:txBody>
          <a:bodyPr/>
          <a:lstStyle/>
          <a:p>
            <a:endParaRPr lang="en-US" dirty="0"/>
          </a:p>
        </p:txBody>
      </p:sp>
    </p:spTree>
    <p:extLst>
      <p:ext uri="{BB962C8B-B14F-4D97-AF65-F5344CB8AC3E}">
        <p14:creationId xmlns:p14="http://schemas.microsoft.com/office/powerpoint/2010/main" val="11513429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485">
              <a:defRPr sz="1100">
                <a:solidFill>
                  <a:schemeClr val="tx1"/>
                </a:solidFill>
                <a:latin typeface="Arial" charset="0"/>
                <a:ea typeface="ＭＳ Ｐゴシック" pitchFamily="1" charset="-128"/>
              </a:defRPr>
            </a:lvl1pPr>
            <a:lvl2pPr marL="702756" indent="-270291" defTabSz="914485">
              <a:defRPr sz="1100">
                <a:solidFill>
                  <a:schemeClr val="tx1"/>
                </a:solidFill>
                <a:latin typeface="Arial" charset="0"/>
                <a:ea typeface="ＭＳ Ｐゴシック" pitchFamily="1" charset="-128"/>
              </a:defRPr>
            </a:lvl2pPr>
            <a:lvl3pPr marL="1081164" indent="-216233" defTabSz="914485">
              <a:defRPr sz="1100">
                <a:solidFill>
                  <a:schemeClr val="tx1"/>
                </a:solidFill>
                <a:latin typeface="Arial" charset="0"/>
                <a:ea typeface="ＭＳ Ｐゴシック" pitchFamily="1" charset="-128"/>
              </a:defRPr>
            </a:lvl3pPr>
            <a:lvl4pPr marL="1513629" indent="-216233" defTabSz="914485">
              <a:defRPr sz="1100">
                <a:solidFill>
                  <a:schemeClr val="tx1"/>
                </a:solidFill>
                <a:latin typeface="Arial" charset="0"/>
                <a:ea typeface="ＭＳ Ｐゴシック" pitchFamily="1" charset="-128"/>
              </a:defRPr>
            </a:lvl4pPr>
            <a:lvl5pPr marL="1946095" indent="-216233" defTabSz="914485">
              <a:defRPr sz="1100">
                <a:solidFill>
                  <a:schemeClr val="tx1"/>
                </a:solidFill>
                <a:latin typeface="Arial" charset="0"/>
                <a:ea typeface="ＭＳ Ｐゴシック" pitchFamily="1" charset="-128"/>
              </a:defRPr>
            </a:lvl5pPr>
            <a:lvl6pPr marL="2378560" indent="-216233" defTabSz="914485" eaLnBrk="0" fontAlgn="base" hangingPunct="0">
              <a:spcBef>
                <a:spcPct val="0"/>
              </a:spcBef>
              <a:spcAft>
                <a:spcPct val="0"/>
              </a:spcAft>
              <a:defRPr sz="1100">
                <a:solidFill>
                  <a:schemeClr val="tx1"/>
                </a:solidFill>
                <a:latin typeface="Arial" charset="0"/>
                <a:ea typeface="ＭＳ Ｐゴシック" pitchFamily="1" charset="-128"/>
              </a:defRPr>
            </a:lvl6pPr>
            <a:lvl7pPr marL="2811026" indent="-216233" defTabSz="914485" eaLnBrk="0" fontAlgn="base" hangingPunct="0">
              <a:spcBef>
                <a:spcPct val="0"/>
              </a:spcBef>
              <a:spcAft>
                <a:spcPct val="0"/>
              </a:spcAft>
              <a:defRPr sz="1100">
                <a:solidFill>
                  <a:schemeClr val="tx1"/>
                </a:solidFill>
                <a:latin typeface="Arial" charset="0"/>
                <a:ea typeface="ＭＳ Ｐゴシック" pitchFamily="1" charset="-128"/>
              </a:defRPr>
            </a:lvl7pPr>
            <a:lvl8pPr marL="3243491" indent="-216233" defTabSz="914485" eaLnBrk="0" fontAlgn="base" hangingPunct="0">
              <a:spcBef>
                <a:spcPct val="0"/>
              </a:spcBef>
              <a:spcAft>
                <a:spcPct val="0"/>
              </a:spcAft>
              <a:defRPr sz="1100">
                <a:solidFill>
                  <a:schemeClr val="tx1"/>
                </a:solidFill>
                <a:latin typeface="Arial" charset="0"/>
                <a:ea typeface="ＭＳ Ｐゴシック" pitchFamily="1" charset="-128"/>
              </a:defRPr>
            </a:lvl8pPr>
            <a:lvl9pPr marL="3675957" indent="-216233" defTabSz="914485" eaLnBrk="0" fontAlgn="base" hangingPunct="0">
              <a:spcBef>
                <a:spcPct val="0"/>
              </a:spcBef>
              <a:spcAft>
                <a:spcPct val="0"/>
              </a:spcAft>
              <a:defRPr sz="1100">
                <a:solidFill>
                  <a:schemeClr val="tx1"/>
                </a:solidFill>
                <a:latin typeface="Arial" charset="0"/>
                <a:ea typeface="ＭＳ Ｐゴシック" pitchFamily="1" charset="-128"/>
              </a:defRPr>
            </a:lvl9pPr>
          </a:lstStyle>
          <a:p>
            <a:pPr defTabSz="457200"/>
            <a:fld id="{94F32D2C-ABD1-4D4C-8815-CA5B68A706AC}" type="slidenum">
              <a:rPr lang="en-GB" altLang="en-US" sz="900">
                <a:solidFill>
                  <a:srgbClr val="0092D1"/>
                </a:solidFill>
                <a:latin typeface="Arial"/>
                <a:ea typeface="+mn-ea"/>
              </a:rPr>
              <a:pPr defTabSz="457200"/>
              <a:t>2</a:t>
            </a:fld>
            <a:endParaRPr lang="en-GB" altLang="en-US" sz="900" dirty="0">
              <a:solidFill>
                <a:srgbClr val="0092D1"/>
              </a:solidFill>
              <a:latin typeface="Arial"/>
              <a:ea typeface="+mn-ea"/>
            </a:endParaRPr>
          </a:p>
        </p:txBody>
      </p:sp>
      <p:sp>
        <p:nvSpPr>
          <p:cNvPr id="5123" name="Rectangle 2"/>
          <p:cNvSpPr>
            <a:spLocks noGrp="1" noChangeArrowheads="1"/>
          </p:cNvSpPr>
          <p:nvPr>
            <p:ph type="title"/>
          </p:nvPr>
        </p:nvSpPr>
        <p:spPr>
          <a:xfrm>
            <a:off x="161314" y="175876"/>
            <a:ext cx="7671521" cy="435717"/>
          </a:xfrm>
          <a:noFill/>
        </p:spPr>
        <p:txBody>
          <a:bodyPr/>
          <a:lstStyle/>
          <a:p>
            <a:pPr defTabSz="864931"/>
            <a:r>
              <a:rPr lang="en-GB" altLang="en-US" i="1" dirty="0" smtClean="0">
                <a:solidFill>
                  <a:schemeClr val="accent2">
                    <a:lumMod val="75000"/>
                  </a:schemeClr>
                </a:solidFill>
              </a:rPr>
              <a:t>PREZENTA UNICREDIT IN EUROPA</a:t>
            </a:r>
          </a:p>
        </p:txBody>
      </p:sp>
      <p:sp>
        <p:nvSpPr>
          <p:cNvPr id="13" name="Freeform 124"/>
          <p:cNvSpPr>
            <a:spLocks/>
          </p:cNvSpPr>
          <p:nvPr>
            <p:custDataLst>
              <p:tags r:id="rId1"/>
            </p:custDataLst>
          </p:nvPr>
        </p:nvSpPr>
        <p:spPr bwMode="gray">
          <a:xfrm>
            <a:off x="5393363" y="4473011"/>
            <a:ext cx="258660" cy="138275"/>
          </a:xfrm>
          <a:custGeom>
            <a:avLst/>
            <a:gdLst>
              <a:gd name="T0" fmla="*/ 68 w 71"/>
              <a:gd name="T1" fmla="*/ 1 h 51"/>
              <a:gd name="T2" fmla="*/ 67 w 71"/>
              <a:gd name="T3" fmla="*/ 10 h 51"/>
              <a:gd name="T4" fmla="*/ 54 w 71"/>
              <a:gd name="T5" fmla="*/ 23 h 51"/>
              <a:gd name="T6" fmla="*/ 58 w 71"/>
              <a:gd name="T7" fmla="*/ 31 h 51"/>
              <a:gd name="T8" fmla="*/ 48 w 71"/>
              <a:gd name="T9" fmla="*/ 36 h 51"/>
              <a:gd name="T10" fmla="*/ 28 w 71"/>
              <a:gd name="T11" fmla="*/ 51 h 51"/>
              <a:gd name="T12" fmla="*/ 6 w 71"/>
              <a:gd name="T13" fmla="*/ 47 h 51"/>
              <a:gd name="T14" fmla="*/ 2 w 71"/>
              <a:gd name="T15" fmla="*/ 37 h 51"/>
              <a:gd name="T16" fmla="*/ 10 w 71"/>
              <a:gd name="T17" fmla="*/ 36 h 51"/>
              <a:gd name="T18" fmla="*/ 20 w 71"/>
              <a:gd name="T19" fmla="*/ 31 h 51"/>
              <a:gd name="T20" fmla="*/ 20 w 71"/>
              <a:gd name="T21" fmla="*/ 20 h 51"/>
              <a:gd name="T22" fmla="*/ 30 w 71"/>
              <a:gd name="T23" fmla="*/ 22 h 51"/>
              <a:gd name="T24" fmla="*/ 42 w 71"/>
              <a:gd name="T25" fmla="*/ 19 h 51"/>
              <a:gd name="T26" fmla="*/ 68 w 71"/>
              <a:gd name="T27"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51">
                <a:moveTo>
                  <a:pt x="68" y="1"/>
                </a:moveTo>
                <a:cubicBezTo>
                  <a:pt x="70" y="3"/>
                  <a:pt x="71" y="6"/>
                  <a:pt x="67" y="10"/>
                </a:cubicBezTo>
                <a:cubicBezTo>
                  <a:pt x="63" y="13"/>
                  <a:pt x="52" y="20"/>
                  <a:pt x="54" y="23"/>
                </a:cubicBezTo>
                <a:cubicBezTo>
                  <a:pt x="54" y="25"/>
                  <a:pt x="59" y="29"/>
                  <a:pt x="58" y="31"/>
                </a:cubicBezTo>
                <a:cubicBezTo>
                  <a:pt x="57" y="33"/>
                  <a:pt x="50" y="32"/>
                  <a:pt x="48" y="36"/>
                </a:cubicBezTo>
                <a:cubicBezTo>
                  <a:pt x="46" y="39"/>
                  <a:pt x="30" y="51"/>
                  <a:pt x="28" y="51"/>
                </a:cubicBezTo>
                <a:cubicBezTo>
                  <a:pt x="25" y="51"/>
                  <a:pt x="10" y="50"/>
                  <a:pt x="6" y="47"/>
                </a:cubicBezTo>
                <a:cubicBezTo>
                  <a:pt x="3" y="43"/>
                  <a:pt x="0" y="39"/>
                  <a:pt x="2" y="37"/>
                </a:cubicBezTo>
                <a:cubicBezTo>
                  <a:pt x="3" y="34"/>
                  <a:pt x="7" y="38"/>
                  <a:pt x="10" y="36"/>
                </a:cubicBezTo>
                <a:cubicBezTo>
                  <a:pt x="13" y="35"/>
                  <a:pt x="20" y="33"/>
                  <a:pt x="20" y="31"/>
                </a:cubicBezTo>
                <a:cubicBezTo>
                  <a:pt x="21" y="28"/>
                  <a:pt x="18" y="20"/>
                  <a:pt x="20" y="20"/>
                </a:cubicBezTo>
                <a:cubicBezTo>
                  <a:pt x="22" y="20"/>
                  <a:pt x="30" y="22"/>
                  <a:pt x="30" y="22"/>
                </a:cubicBezTo>
                <a:cubicBezTo>
                  <a:pt x="30" y="22"/>
                  <a:pt x="38" y="20"/>
                  <a:pt x="42" y="19"/>
                </a:cubicBezTo>
                <a:cubicBezTo>
                  <a:pt x="49" y="15"/>
                  <a:pt x="66" y="0"/>
                  <a:pt x="68" y="1"/>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4" name="Freeform 126"/>
          <p:cNvSpPr>
            <a:spLocks/>
          </p:cNvSpPr>
          <p:nvPr>
            <p:custDataLst>
              <p:tags r:id="rId2"/>
            </p:custDataLst>
          </p:nvPr>
        </p:nvSpPr>
        <p:spPr bwMode="gray">
          <a:xfrm>
            <a:off x="5697527" y="783902"/>
            <a:ext cx="134120" cy="54956"/>
          </a:xfrm>
          <a:custGeom>
            <a:avLst/>
            <a:gdLst>
              <a:gd name="T0" fmla="*/ 36 w 37"/>
              <a:gd name="T1" fmla="*/ 13 h 21"/>
              <a:gd name="T2" fmla="*/ 36 w 37"/>
              <a:gd name="T3" fmla="*/ 20 h 21"/>
              <a:gd name="T4" fmla="*/ 16 w 37"/>
              <a:gd name="T5" fmla="*/ 18 h 21"/>
              <a:gd name="T6" fmla="*/ 2 w 37"/>
              <a:gd name="T7" fmla="*/ 8 h 21"/>
              <a:gd name="T8" fmla="*/ 7 w 37"/>
              <a:gd name="T9" fmla="*/ 0 h 21"/>
              <a:gd name="T10" fmla="*/ 30 w 37"/>
              <a:gd name="T11" fmla="*/ 8 h 21"/>
              <a:gd name="T12" fmla="*/ 36 w 37"/>
              <a:gd name="T13" fmla="*/ 13 h 21"/>
            </a:gdLst>
            <a:ahLst/>
            <a:cxnLst>
              <a:cxn ang="0">
                <a:pos x="T0" y="T1"/>
              </a:cxn>
              <a:cxn ang="0">
                <a:pos x="T2" y="T3"/>
              </a:cxn>
              <a:cxn ang="0">
                <a:pos x="T4" y="T5"/>
              </a:cxn>
              <a:cxn ang="0">
                <a:pos x="T6" y="T7"/>
              </a:cxn>
              <a:cxn ang="0">
                <a:pos x="T8" y="T9"/>
              </a:cxn>
              <a:cxn ang="0">
                <a:pos x="T10" y="T11"/>
              </a:cxn>
              <a:cxn ang="0">
                <a:pos x="T12" y="T13"/>
              </a:cxn>
            </a:cxnLst>
            <a:rect l="0" t="0" r="r" b="b"/>
            <a:pathLst>
              <a:path w="37" h="21">
                <a:moveTo>
                  <a:pt x="36" y="13"/>
                </a:moveTo>
                <a:cubicBezTo>
                  <a:pt x="36" y="14"/>
                  <a:pt x="37" y="18"/>
                  <a:pt x="36" y="20"/>
                </a:cubicBezTo>
                <a:cubicBezTo>
                  <a:pt x="36" y="21"/>
                  <a:pt x="21" y="20"/>
                  <a:pt x="16" y="18"/>
                </a:cubicBezTo>
                <a:cubicBezTo>
                  <a:pt x="11" y="17"/>
                  <a:pt x="1" y="12"/>
                  <a:pt x="2" y="8"/>
                </a:cubicBezTo>
                <a:cubicBezTo>
                  <a:pt x="3" y="4"/>
                  <a:pt x="0" y="0"/>
                  <a:pt x="7" y="0"/>
                </a:cubicBezTo>
                <a:cubicBezTo>
                  <a:pt x="15" y="1"/>
                  <a:pt x="28" y="6"/>
                  <a:pt x="30" y="8"/>
                </a:cubicBezTo>
                <a:cubicBezTo>
                  <a:pt x="32" y="9"/>
                  <a:pt x="32" y="12"/>
                  <a:pt x="36" y="13"/>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81" name="Freeform 194"/>
          <p:cNvSpPr>
            <a:spLocks/>
          </p:cNvSpPr>
          <p:nvPr>
            <p:custDataLst>
              <p:tags r:id="rId3"/>
            </p:custDataLst>
          </p:nvPr>
        </p:nvSpPr>
        <p:spPr bwMode="gray">
          <a:xfrm>
            <a:off x="4823352" y="4535058"/>
            <a:ext cx="35926" cy="58502"/>
          </a:xfrm>
          <a:custGeom>
            <a:avLst/>
            <a:gdLst>
              <a:gd name="T0" fmla="*/ 3 w 10"/>
              <a:gd name="T1" fmla="*/ 21 h 22"/>
              <a:gd name="T2" fmla="*/ 2 w 10"/>
              <a:gd name="T3" fmla="*/ 17 h 22"/>
              <a:gd name="T4" fmla="*/ 0 w 10"/>
              <a:gd name="T5" fmla="*/ 13 h 22"/>
              <a:gd name="T6" fmla="*/ 5 w 10"/>
              <a:gd name="T7" fmla="*/ 1 h 22"/>
              <a:gd name="T8" fmla="*/ 7 w 10"/>
              <a:gd name="T9" fmla="*/ 3 h 22"/>
              <a:gd name="T10" fmla="*/ 7 w 10"/>
              <a:gd name="T11" fmla="*/ 13 h 22"/>
              <a:gd name="T12" fmla="*/ 8 w 10"/>
              <a:gd name="T13" fmla="*/ 19 h 22"/>
              <a:gd name="T14" fmla="*/ 3 w 10"/>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2">
                <a:moveTo>
                  <a:pt x="3" y="21"/>
                </a:moveTo>
                <a:cubicBezTo>
                  <a:pt x="2" y="21"/>
                  <a:pt x="3" y="18"/>
                  <a:pt x="2" y="17"/>
                </a:cubicBezTo>
                <a:cubicBezTo>
                  <a:pt x="2" y="15"/>
                  <a:pt x="0" y="15"/>
                  <a:pt x="0" y="13"/>
                </a:cubicBezTo>
                <a:cubicBezTo>
                  <a:pt x="1" y="12"/>
                  <a:pt x="3" y="1"/>
                  <a:pt x="5" y="1"/>
                </a:cubicBezTo>
                <a:cubicBezTo>
                  <a:pt x="6" y="0"/>
                  <a:pt x="7" y="0"/>
                  <a:pt x="7" y="3"/>
                </a:cubicBezTo>
                <a:cubicBezTo>
                  <a:pt x="7" y="5"/>
                  <a:pt x="6" y="13"/>
                  <a:pt x="7" y="13"/>
                </a:cubicBezTo>
                <a:cubicBezTo>
                  <a:pt x="8" y="14"/>
                  <a:pt x="10" y="17"/>
                  <a:pt x="8" y="19"/>
                </a:cubicBezTo>
                <a:cubicBezTo>
                  <a:pt x="5" y="21"/>
                  <a:pt x="5" y="22"/>
                  <a:pt x="3" y="21"/>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25" name="Freeform 119"/>
          <p:cNvSpPr>
            <a:spLocks/>
          </p:cNvSpPr>
          <p:nvPr>
            <p:custDataLst>
              <p:tags r:id="rId4"/>
            </p:custDataLst>
          </p:nvPr>
        </p:nvSpPr>
        <p:spPr bwMode="gray">
          <a:xfrm>
            <a:off x="6526199" y="3584861"/>
            <a:ext cx="567615" cy="329733"/>
          </a:xfrm>
          <a:custGeom>
            <a:avLst/>
            <a:gdLst>
              <a:gd name="T0" fmla="*/ 153 w 157"/>
              <a:gd name="T1" fmla="*/ 36 h 123"/>
              <a:gd name="T2" fmla="*/ 155 w 157"/>
              <a:gd name="T3" fmla="*/ 43 h 123"/>
              <a:gd name="T4" fmla="*/ 144 w 157"/>
              <a:gd name="T5" fmla="*/ 41 h 123"/>
              <a:gd name="T6" fmla="*/ 134 w 157"/>
              <a:gd name="T7" fmla="*/ 51 h 123"/>
              <a:gd name="T8" fmla="*/ 135 w 157"/>
              <a:gd name="T9" fmla="*/ 73 h 123"/>
              <a:gd name="T10" fmla="*/ 140 w 157"/>
              <a:gd name="T11" fmla="*/ 93 h 123"/>
              <a:gd name="T12" fmla="*/ 131 w 157"/>
              <a:gd name="T13" fmla="*/ 93 h 123"/>
              <a:gd name="T14" fmla="*/ 136 w 157"/>
              <a:gd name="T15" fmla="*/ 120 h 123"/>
              <a:gd name="T16" fmla="*/ 130 w 157"/>
              <a:gd name="T17" fmla="*/ 123 h 123"/>
              <a:gd name="T18" fmla="*/ 108 w 157"/>
              <a:gd name="T19" fmla="*/ 113 h 123"/>
              <a:gd name="T20" fmla="*/ 115 w 157"/>
              <a:gd name="T21" fmla="*/ 106 h 123"/>
              <a:gd name="T22" fmla="*/ 107 w 157"/>
              <a:gd name="T23" fmla="*/ 96 h 123"/>
              <a:gd name="T24" fmla="*/ 112 w 157"/>
              <a:gd name="T25" fmla="*/ 90 h 123"/>
              <a:gd name="T26" fmla="*/ 98 w 157"/>
              <a:gd name="T27" fmla="*/ 84 h 123"/>
              <a:gd name="T28" fmla="*/ 72 w 157"/>
              <a:gd name="T29" fmla="*/ 123 h 123"/>
              <a:gd name="T30" fmla="*/ 68 w 157"/>
              <a:gd name="T31" fmla="*/ 112 h 123"/>
              <a:gd name="T32" fmla="*/ 57 w 157"/>
              <a:gd name="T33" fmla="*/ 100 h 123"/>
              <a:gd name="T34" fmla="*/ 40 w 157"/>
              <a:gd name="T35" fmla="*/ 93 h 123"/>
              <a:gd name="T36" fmla="*/ 40 w 157"/>
              <a:gd name="T37" fmla="*/ 82 h 123"/>
              <a:gd name="T38" fmla="*/ 21 w 157"/>
              <a:gd name="T39" fmla="*/ 74 h 123"/>
              <a:gd name="T40" fmla="*/ 16 w 157"/>
              <a:gd name="T41" fmla="*/ 62 h 123"/>
              <a:gd name="T42" fmla="*/ 0 w 157"/>
              <a:gd name="T43" fmla="*/ 60 h 123"/>
              <a:gd name="T44" fmla="*/ 6 w 157"/>
              <a:gd name="T45" fmla="*/ 48 h 123"/>
              <a:gd name="T46" fmla="*/ 21 w 157"/>
              <a:gd name="T47" fmla="*/ 47 h 123"/>
              <a:gd name="T48" fmla="*/ 42 w 157"/>
              <a:gd name="T49" fmla="*/ 48 h 123"/>
              <a:gd name="T50" fmla="*/ 45 w 157"/>
              <a:gd name="T51" fmla="*/ 37 h 123"/>
              <a:gd name="T52" fmla="*/ 29 w 157"/>
              <a:gd name="T53" fmla="*/ 28 h 123"/>
              <a:gd name="T54" fmla="*/ 34 w 157"/>
              <a:gd name="T55" fmla="*/ 22 h 123"/>
              <a:gd name="T56" fmla="*/ 42 w 157"/>
              <a:gd name="T57" fmla="*/ 17 h 123"/>
              <a:gd name="T58" fmla="*/ 66 w 157"/>
              <a:gd name="T59" fmla="*/ 30 h 123"/>
              <a:gd name="T60" fmla="*/ 76 w 157"/>
              <a:gd name="T61" fmla="*/ 30 h 123"/>
              <a:gd name="T62" fmla="*/ 83 w 157"/>
              <a:gd name="T63" fmla="*/ 12 h 123"/>
              <a:gd name="T64" fmla="*/ 84 w 157"/>
              <a:gd name="T65" fmla="*/ 0 h 123"/>
              <a:gd name="T66" fmla="*/ 88 w 157"/>
              <a:gd name="T67" fmla="*/ 3 h 123"/>
              <a:gd name="T68" fmla="*/ 107 w 157"/>
              <a:gd name="T69" fmla="*/ 14 h 123"/>
              <a:gd name="T70" fmla="*/ 123 w 157"/>
              <a:gd name="T71" fmla="*/ 30 h 123"/>
              <a:gd name="T72" fmla="*/ 134 w 157"/>
              <a:gd name="T73" fmla="*/ 33 h 123"/>
              <a:gd name="T74" fmla="*/ 144 w 157"/>
              <a:gd name="T75" fmla="*/ 30 h 123"/>
              <a:gd name="T76" fmla="*/ 153 w 157"/>
              <a:gd name="T77" fmla="*/ 3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7" h="123">
                <a:moveTo>
                  <a:pt x="153" y="36"/>
                </a:moveTo>
                <a:cubicBezTo>
                  <a:pt x="155" y="39"/>
                  <a:pt x="157" y="42"/>
                  <a:pt x="155" y="43"/>
                </a:cubicBezTo>
                <a:cubicBezTo>
                  <a:pt x="153" y="45"/>
                  <a:pt x="148" y="39"/>
                  <a:pt x="144" y="41"/>
                </a:cubicBezTo>
                <a:cubicBezTo>
                  <a:pt x="140" y="44"/>
                  <a:pt x="135" y="47"/>
                  <a:pt x="134" y="51"/>
                </a:cubicBezTo>
                <a:cubicBezTo>
                  <a:pt x="134" y="55"/>
                  <a:pt x="135" y="69"/>
                  <a:pt x="135" y="73"/>
                </a:cubicBezTo>
                <a:cubicBezTo>
                  <a:pt x="136" y="76"/>
                  <a:pt x="140" y="90"/>
                  <a:pt x="140" y="93"/>
                </a:cubicBezTo>
                <a:cubicBezTo>
                  <a:pt x="140" y="96"/>
                  <a:pt x="132" y="90"/>
                  <a:pt x="131" y="93"/>
                </a:cubicBezTo>
                <a:cubicBezTo>
                  <a:pt x="130" y="97"/>
                  <a:pt x="136" y="117"/>
                  <a:pt x="136" y="120"/>
                </a:cubicBezTo>
                <a:cubicBezTo>
                  <a:pt x="137" y="122"/>
                  <a:pt x="133" y="123"/>
                  <a:pt x="130" y="123"/>
                </a:cubicBezTo>
                <a:cubicBezTo>
                  <a:pt x="127" y="123"/>
                  <a:pt x="108" y="118"/>
                  <a:pt x="108" y="113"/>
                </a:cubicBezTo>
                <a:cubicBezTo>
                  <a:pt x="108" y="108"/>
                  <a:pt x="114" y="111"/>
                  <a:pt x="115" y="106"/>
                </a:cubicBezTo>
                <a:cubicBezTo>
                  <a:pt x="116" y="101"/>
                  <a:pt x="107" y="96"/>
                  <a:pt x="107" y="96"/>
                </a:cubicBezTo>
                <a:cubicBezTo>
                  <a:pt x="112" y="90"/>
                  <a:pt x="112" y="90"/>
                  <a:pt x="112" y="90"/>
                </a:cubicBezTo>
                <a:cubicBezTo>
                  <a:pt x="98" y="84"/>
                  <a:pt x="98" y="84"/>
                  <a:pt x="98" y="84"/>
                </a:cubicBezTo>
                <a:cubicBezTo>
                  <a:pt x="98" y="84"/>
                  <a:pt x="80" y="111"/>
                  <a:pt x="72" y="123"/>
                </a:cubicBezTo>
                <a:cubicBezTo>
                  <a:pt x="71" y="119"/>
                  <a:pt x="69" y="114"/>
                  <a:pt x="68" y="112"/>
                </a:cubicBezTo>
                <a:cubicBezTo>
                  <a:pt x="64" y="105"/>
                  <a:pt x="61" y="100"/>
                  <a:pt x="57" y="100"/>
                </a:cubicBezTo>
                <a:cubicBezTo>
                  <a:pt x="52" y="99"/>
                  <a:pt x="41" y="96"/>
                  <a:pt x="40" y="93"/>
                </a:cubicBezTo>
                <a:cubicBezTo>
                  <a:pt x="39" y="91"/>
                  <a:pt x="45" y="84"/>
                  <a:pt x="40" y="82"/>
                </a:cubicBezTo>
                <a:cubicBezTo>
                  <a:pt x="34" y="80"/>
                  <a:pt x="24" y="79"/>
                  <a:pt x="21" y="74"/>
                </a:cubicBezTo>
                <a:cubicBezTo>
                  <a:pt x="18" y="69"/>
                  <a:pt x="20" y="65"/>
                  <a:pt x="16" y="62"/>
                </a:cubicBezTo>
                <a:cubicBezTo>
                  <a:pt x="13" y="60"/>
                  <a:pt x="7" y="60"/>
                  <a:pt x="0" y="60"/>
                </a:cubicBezTo>
                <a:cubicBezTo>
                  <a:pt x="1" y="60"/>
                  <a:pt x="3" y="52"/>
                  <a:pt x="6" y="48"/>
                </a:cubicBezTo>
                <a:cubicBezTo>
                  <a:pt x="9" y="43"/>
                  <a:pt x="18" y="47"/>
                  <a:pt x="21" y="47"/>
                </a:cubicBezTo>
                <a:cubicBezTo>
                  <a:pt x="24" y="47"/>
                  <a:pt x="39" y="52"/>
                  <a:pt x="42" y="48"/>
                </a:cubicBezTo>
                <a:cubicBezTo>
                  <a:pt x="45" y="45"/>
                  <a:pt x="43" y="41"/>
                  <a:pt x="45" y="37"/>
                </a:cubicBezTo>
                <a:cubicBezTo>
                  <a:pt x="46" y="33"/>
                  <a:pt x="27" y="34"/>
                  <a:pt x="29" y="28"/>
                </a:cubicBezTo>
                <a:cubicBezTo>
                  <a:pt x="30" y="26"/>
                  <a:pt x="32" y="24"/>
                  <a:pt x="34" y="22"/>
                </a:cubicBezTo>
                <a:cubicBezTo>
                  <a:pt x="37" y="19"/>
                  <a:pt x="40" y="17"/>
                  <a:pt x="42" y="17"/>
                </a:cubicBezTo>
                <a:cubicBezTo>
                  <a:pt x="45" y="18"/>
                  <a:pt x="62" y="30"/>
                  <a:pt x="66" y="30"/>
                </a:cubicBezTo>
                <a:cubicBezTo>
                  <a:pt x="69" y="30"/>
                  <a:pt x="74" y="34"/>
                  <a:pt x="76" y="30"/>
                </a:cubicBezTo>
                <a:cubicBezTo>
                  <a:pt x="78" y="26"/>
                  <a:pt x="83" y="12"/>
                  <a:pt x="83" y="12"/>
                </a:cubicBezTo>
                <a:cubicBezTo>
                  <a:pt x="84" y="0"/>
                  <a:pt x="84" y="0"/>
                  <a:pt x="84" y="0"/>
                </a:cubicBezTo>
                <a:cubicBezTo>
                  <a:pt x="86" y="1"/>
                  <a:pt x="87" y="2"/>
                  <a:pt x="88" y="3"/>
                </a:cubicBezTo>
                <a:cubicBezTo>
                  <a:pt x="93" y="5"/>
                  <a:pt x="104" y="10"/>
                  <a:pt x="107" y="14"/>
                </a:cubicBezTo>
                <a:cubicBezTo>
                  <a:pt x="110" y="18"/>
                  <a:pt x="120" y="28"/>
                  <a:pt x="123" y="30"/>
                </a:cubicBezTo>
                <a:cubicBezTo>
                  <a:pt x="126" y="32"/>
                  <a:pt x="131" y="34"/>
                  <a:pt x="134" y="33"/>
                </a:cubicBezTo>
                <a:cubicBezTo>
                  <a:pt x="136" y="33"/>
                  <a:pt x="140" y="30"/>
                  <a:pt x="144" y="30"/>
                </a:cubicBezTo>
                <a:cubicBezTo>
                  <a:pt x="147" y="30"/>
                  <a:pt x="152" y="33"/>
                  <a:pt x="153" y="36"/>
                </a:cubicBezTo>
                <a:close/>
              </a:path>
            </a:pathLst>
          </a:custGeom>
          <a:solidFill>
            <a:schemeClr val="bg2"/>
          </a:solidFill>
          <a:ln w="9525" cap="flat">
            <a:solidFill>
              <a:srgbClr val="FFFFFF"/>
            </a:solidFill>
            <a:prstDash val="solid"/>
            <a:miter lim="800000"/>
            <a:headEnd/>
            <a:tailEnd/>
          </a:ln>
        </p:spPr>
        <p:txBody>
          <a:bodyPr/>
          <a:lstStyle/>
          <a:p>
            <a:endParaRPr lang="en-US" dirty="0"/>
          </a:p>
        </p:txBody>
      </p:sp>
      <p:sp>
        <p:nvSpPr>
          <p:cNvPr id="126" name="Freeform 120"/>
          <p:cNvSpPr>
            <a:spLocks/>
          </p:cNvSpPr>
          <p:nvPr>
            <p:custDataLst>
              <p:tags r:id="rId5"/>
            </p:custDataLst>
          </p:nvPr>
        </p:nvSpPr>
        <p:spPr bwMode="gray">
          <a:xfrm>
            <a:off x="6313044" y="2581479"/>
            <a:ext cx="517319" cy="581464"/>
          </a:xfrm>
          <a:custGeom>
            <a:avLst/>
            <a:gdLst>
              <a:gd name="T0" fmla="*/ 143 w 143"/>
              <a:gd name="T1" fmla="*/ 169 h 217"/>
              <a:gd name="T2" fmla="*/ 140 w 143"/>
              <a:gd name="T3" fmla="*/ 171 h 217"/>
              <a:gd name="T4" fmla="*/ 122 w 143"/>
              <a:gd name="T5" fmla="*/ 190 h 217"/>
              <a:gd name="T6" fmla="*/ 112 w 143"/>
              <a:gd name="T7" fmla="*/ 210 h 217"/>
              <a:gd name="T8" fmla="*/ 100 w 143"/>
              <a:gd name="T9" fmla="*/ 212 h 217"/>
              <a:gd name="T10" fmla="*/ 99 w 143"/>
              <a:gd name="T11" fmla="*/ 217 h 217"/>
              <a:gd name="T12" fmla="*/ 88 w 143"/>
              <a:gd name="T13" fmla="*/ 213 h 217"/>
              <a:gd name="T14" fmla="*/ 84 w 143"/>
              <a:gd name="T15" fmla="*/ 195 h 217"/>
              <a:gd name="T16" fmla="*/ 58 w 143"/>
              <a:gd name="T17" fmla="*/ 177 h 217"/>
              <a:gd name="T18" fmla="*/ 38 w 143"/>
              <a:gd name="T19" fmla="*/ 186 h 217"/>
              <a:gd name="T20" fmla="*/ 27 w 143"/>
              <a:gd name="T21" fmla="*/ 169 h 217"/>
              <a:gd name="T22" fmla="*/ 9 w 143"/>
              <a:gd name="T23" fmla="*/ 165 h 217"/>
              <a:gd name="T24" fmla="*/ 5 w 143"/>
              <a:gd name="T25" fmla="*/ 131 h 217"/>
              <a:gd name="T26" fmla="*/ 1 w 143"/>
              <a:gd name="T27" fmla="*/ 112 h 217"/>
              <a:gd name="T28" fmla="*/ 5 w 143"/>
              <a:gd name="T29" fmla="*/ 88 h 217"/>
              <a:gd name="T30" fmla="*/ 31 w 143"/>
              <a:gd name="T31" fmla="*/ 100 h 217"/>
              <a:gd name="T32" fmla="*/ 43 w 143"/>
              <a:gd name="T33" fmla="*/ 89 h 217"/>
              <a:gd name="T34" fmla="*/ 31 w 143"/>
              <a:gd name="T35" fmla="*/ 69 h 217"/>
              <a:gd name="T36" fmla="*/ 47 w 143"/>
              <a:gd name="T37" fmla="*/ 40 h 217"/>
              <a:gd name="T38" fmla="*/ 57 w 143"/>
              <a:gd name="T39" fmla="*/ 15 h 217"/>
              <a:gd name="T40" fmla="*/ 86 w 143"/>
              <a:gd name="T41" fmla="*/ 1 h 217"/>
              <a:gd name="T42" fmla="*/ 108 w 143"/>
              <a:gd name="T43" fmla="*/ 0 h 217"/>
              <a:gd name="T44" fmla="*/ 89 w 143"/>
              <a:gd name="T45" fmla="*/ 19 h 217"/>
              <a:gd name="T46" fmla="*/ 61 w 143"/>
              <a:gd name="T47" fmla="*/ 35 h 217"/>
              <a:gd name="T48" fmla="*/ 65 w 143"/>
              <a:gd name="T49" fmla="*/ 68 h 217"/>
              <a:gd name="T50" fmla="*/ 102 w 143"/>
              <a:gd name="T51" fmla="*/ 96 h 217"/>
              <a:gd name="T52" fmla="*/ 113 w 143"/>
              <a:gd name="T53" fmla="*/ 124 h 217"/>
              <a:gd name="T54" fmla="*/ 143 w 143"/>
              <a:gd name="T55" fmla="*/ 16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217">
                <a:moveTo>
                  <a:pt x="143" y="169"/>
                </a:moveTo>
                <a:cubicBezTo>
                  <a:pt x="142" y="170"/>
                  <a:pt x="141" y="170"/>
                  <a:pt x="140" y="171"/>
                </a:cubicBezTo>
                <a:cubicBezTo>
                  <a:pt x="134" y="176"/>
                  <a:pt x="125" y="184"/>
                  <a:pt x="122" y="190"/>
                </a:cubicBezTo>
                <a:cubicBezTo>
                  <a:pt x="118" y="198"/>
                  <a:pt x="116" y="207"/>
                  <a:pt x="112" y="210"/>
                </a:cubicBezTo>
                <a:cubicBezTo>
                  <a:pt x="106" y="212"/>
                  <a:pt x="102" y="205"/>
                  <a:pt x="100" y="212"/>
                </a:cubicBezTo>
                <a:cubicBezTo>
                  <a:pt x="99" y="213"/>
                  <a:pt x="99" y="215"/>
                  <a:pt x="99" y="217"/>
                </a:cubicBezTo>
                <a:cubicBezTo>
                  <a:pt x="95" y="215"/>
                  <a:pt x="91" y="214"/>
                  <a:pt x="88" y="213"/>
                </a:cubicBezTo>
                <a:cubicBezTo>
                  <a:pt x="82" y="210"/>
                  <a:pt x="93" y="202"/>
                  <a:pt x="84" y="195"/>
                </a:cubicBezTo>
                <a:cubicBezTo>
                  <a:pt x="75" y="188"/>
                  <a:pt x="66" y="176"/>
                  <a:pt x="58" y="177"/>
                </a:cubicBezTo>
                <a:cubicBezTo>
                  <a:pt x="50" y="179"/>
                  <a:pt x="44" y="189"/>
                  <a:pt x="38" y="186"/>
                </a:cubicBezTo>
                <a:cubicBezTo>
                  <a:pt x="33" y="183"/>
                  <a:pt x="31" y="174"/>
                  <a:pt x="27" y="169"/>
                </a:cubicBezTo>
                <a:cubicBezTo>
                  <a:pt x="23" y="164"/>
                  <a:pt x="9" y="165"/>
                  <a:pt x="9" y="165"/>
                </a:cubicBezTo>
                <a:cubicBezTo>
                  <a:pt x="9" y="165"/>
                  <a:pt x="8" y="142"/>
                  <a:pt x="5" y="131"/>
                </a:cubicBezTo>
                <a:cubicBezTo>
                  <a:pt x="2" y="121"/>
                  <a:pt x="2" y="117"/>
                  <a:pt x="1" y="112"/>
                </a:cubicBezTo>
                <a:cubicBezTo>
                  <a:pt x="0" y="107"/>
                  <a:pt x="0" y="89"/>
                  <a:pt x="5" y="88"/>
                </a:cubicBezTo>
                <a:cubicBezTo>
                  <a:pt x="10" y="86"/>
                  <a:pt x="25" y="104"/>
                  <a:pt x="31" y="100"/>
                </a:cubicBezTo>
                <a:cubicBezTo>
                  <a:pt x="37" y="97"/>
                  <a:pt x="45" y="96"/>
                  <a:pt x="43" y="89"/>
                </a:cubicBezTo>
                <a:cubicBezTo>
                  <a:pt x="41" y="82"/>
                  <a:pt x="30" y="76"/>
                  <a:pt x="31" y="69"/>
                </a:cubicBezTo>
                <a:cubicBezTo>
                  <a:pt x="33" y="62"/>
                  <a:pt x="43" y="44"/>
                  <a:pt x="47" y="40"/>
                </a:cubicBezTo>
                <a:cubicBezTo>
                  <a:pt x="51" y="35"/>
                  <a:pt x="52" y="17"/>
                  <a:pt x="57" y="15"/>
                </a:cubicBezTo>
                <a:cubicBezTo>
                  <a:pt x="62" y="12"/>
                  <a:pt x="86" y="1"/>
                  <a:pt x="86" y="1"/>
                </a:cubicBezTo>
                <a:cubicBezTo>
                  <a:pt x="95" y="0"/>
                  <a:pt x="102" y="0"/>
                  <a:pt x="108" y="0"/>
                </a:cubicBezTo>
                <a:cubicBezTo>
                  <a:pt x="100" y="7"/>
                  <a:pt x="95" y="16"/>
                  <a:pt x="89" y="19"/>
                </a:cubicBezTo>
                <a:cubicBezTo>
                  <a:pt x="81" y="23"/>
                  <a:pt x="67" y="26"/>
                  <a:pt x="61" y="35"/>
                </a:cubicBezTo>
                <a:cubicBezTo>
                  <a:pt x="55" y="44"/>
                  <a:pt x="63" y="60"/>
                  <a:pt x="65" y="68"/>
                </a:cubicBezTo>
                <a:cubicBezTo>
                  <a:pt x="67" y="76"/>
                  <a:pt x="91" y="89"/>
                  <a:pt x="102" y="96"/>
                </a:cubicBezTo>
                <a:cubicBezTo>
                  <a:pt x="113" y="103"/>
                  <a:pt x="111" y="110"/>
                  <a:pt x="113" y="124"/>
                </a:cubicBezTo>
                <a:cubicBezTo>
                  <a:pt x="114" y="136"/>
                  <a:pt x="129" y="154"/>
                  <a:pt x="143" y="169"/>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27" name="Freeform 121"/>
          <p:cNvSpPr>
            <a:spLocks/>
          </p:cNvSpPr>
          <p:nvPr>
            <p:custDataLst>
              <p:tags r:id="rId6"/>
            </p:custDataLst>
          </p:nvPr>
        </p:nvSpPr>
        <p:spPr bwMode="gray">
          <a:xfrm>
            <a:off x="5980138" y="3597270"/>
            <a:ext cx="711316" cy="196777"/>
          </a:xfrm>
          <a:custGeom>
            <a:avLst/>
            <a:gdLst>
              <a:gd name="T0" fmla="*/ 180 w 197"/>
              <a:gd name="T1" fmla="*/ 24 h 74"/>
              <a:gd name="T2" fmla="*/ 196 w 197"/>
              <a:gd name="T3" fmla="*/ 33 h 74"/>
              <a:gd name="T4" fmla="*/ 193 w 197"/>
              <a:gd name="T5" fmla="*/ 44 h 74"/>
              <a:gd name="T6" fmla="*/ 172 w 197"/>
              <a:gd name="T7" fmla="*/ 43 h 74"/>
              <a:gd name="T8" fmla="*/ 157 w 197"/>
              <a:gd name="T9" fmla="*/ 44 h 74"/>
              <a:gd name="T10" fmla="*/ 151 w 197"/>
              <a:gd name="T11" fmla="*/ 56 h 74"/>
              <a:gd name="T12" fmla="*/ 148 w 197"/>
              <a:gd name="T13" fmla="*/ 57 h 74"/>
              <a:gd name="T14" fmla="*/ 127 w 197"/>
              <a:gd name="T15" fmla="*/ 65 h 74"/>
              <a:gd name="T16" fmla="*/ 117 w 197"/>
              <a:gd name="T17" fmla="*/ 74 h 74"/>
              <a:gd name="T18" fmla="*/ 117 w 197"/>
              <a:gd name="T19" fmla="*/ 74 h 74"/>
              <a:gd name="T20" fmla="*/ 112 w 197"/>
              <a:gd name="T21" fmla="*/ 70 h 74"/>
              <a:gd name="T22" fmla="*/ 88 w 197"/>
              <a:gd name="T23" fmla="*/ 61 h 74"/>
              <a:gd name="T24" fmla="*/ 62 w 197"/>
              <a:gd name="T25" fmla="*/ 71 h 74"/>
              <a:gd name="T26" fmla="*/ 59 w 197"/>
              <a:gd name="T27" fmla="*/ 72 h 74"/>
              <a:gd name="T28" fmla="*/ 60 w 197"/>
              <a:gd name="T29" fmla="*/ 58 h 74"/>
              <a:gd name="T30" fmla="*/ 41 w 197"/>
              <a:gd name="T31" fmla="*/ 30 h 74"/>
              <a:gd name="T32" fmla="*/ 21 w 197"/>
              <a:gd name="T33" fmla="*/ 23 h 74"/>
              <a:gd name="T34" fmla="*/ 8 w 197"/>
              <a:gd name="T35" fmla="*/ 22 h 74"/>
              <a:gd name="T36" fmla="*/ 0 w 197"/>
              <a:gd name="T37" fmla="*/ 17 h 74"/>
              <a:gd name="T38" fmla="*/ 9 w 197"/>
              <a:gd name="T39" fmla="*/ 5 h 74"/>
              <a:gd name="T40" fmla="*/ 47 w 197"/>
              <a:gd name="T41" fmla="*/ 8 h 74"/>
              <a:gd name="T42" fmla="*/ 76 w 197"/>
              <a:gd name="T43" fmla="*/ 5 h 74"/>
              <a:gd name="T44" fmla="*/ 108 w 197"/>
              <a:gd name="T45" fmla="*/ 15 h 74"/>
              <a:gd name="T46" fmla="*/ 126 w 197"/>
              <a:gd name="T47" fmla="*/ 1 h 74"/>
              <a:gd name="T48" fmla="*/ 153 w 197"/>
              <a:gd name="T49" fmla="*/ 0 h 74"/>
              <a:gd name="T50" fmla="*/ 155 w 197"/>
              <a:gd name="T51" fmla="*/ 11 h 74"/>
              <a:gd name="T52" fmla="*/ 167 w 197"/>
              <a:gd name="T53" fmla="*/ 14 h 74"/>
              <a:gd name="T54" fmla="*/ 185 w 197"/>
              <a:gd name="T55" fmla="*/ 18 h 74"/>
              <a:gd name="T56" fmla="*/ 180 w 197"/>
              <a:gd name="T57" fmla="*/ 2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74">
                <a:moveTo>
                  <a:pt x="180" y="24"/>
                </a:moveTo>
                <a:cubicBezTo>
                  <a:pt x="178" y="30"/>
                  <a:pt x="197" y="29"/>
                  <a:pt x="196" y="33"/>
                </a:cubicBezTo>
                <a:cubicBezTo>
                  <a:pt x="194" y="37"/>
                  <a:pt x="196" y="41"/>
                  <a:pt x="193" y="44"/>
                </a:cubicBezTo>
                <a:cubicBezTo>
                  <a:pt x="190" y="48"/>
                  <a:pt x="175" y="43"/>
                  <a:pt x="172" y="43"/>
                </a:cubicBezTo>
                <a:cubicBezTo>
                  <a:pt x="169" y="43"/>
                  <a:pt x="160" y="39"/>
                  <a:pt x="157" y="44"/>
                </a:cubicBezTo>
                <a:cubicBezTo>
                  <a:pt x="154" y="48"/>
                  <a:pt x="152" y="56"/>
                  <a:pt x="151" y="56"/>
                </a:cubicBezTo>
                <a:cubicBezTo>
                  <a:pt x="150" y="57"/>
                  <a:pt x="149" y="57"/>
                  <a:pt x="148" y="57"/>
                </a:cubicBezTo>
                <a:cubicBezTo>
                  <a:pt x="140" y="58"/>
                  <a:pt x="130" y="61"/>
                  <a:pt x="127" y="65"/>
                </a:cubicBezTo>
                <a:cubicBezTo>
                  <a:pt x="117" y="74"/>
                  <a:pt x="117" y="74"/>
                  <a:pt x="117" y="74"/>
                </a:cubicBezTo>
                <a:cubicBezTo>
                  <a:pt x="117" y="74"/>
                  <a:pt x="117" y="74"/>
                  <a:pt x="117" y="74"/>
                </a:cubicBezTo>
                <a:cubicBezTo>
                  <a:pt x="116" y="72"/>
                  <a:pt x="114" y="70"/>
                  <a:pt x="112" y="70"/>
                </a:cubicBezTo>
                <a:cubicBezTo>
                  <a:pt x="109" y="67"/>
                  <a:pt x="92" y="60"/>
                  <a:pt x="88" y="61"/>
                </a:cubicBezTo>
                <a:cubicBezTo>
                  <a:pt x="84" y="63"/>
                  <a:pt x="68" y="70"/>
                  <a:pt x="62" y="71"/>
                </a:cubicBezTo>
                <a:cubicBezTo>
                  <a:pt x="61" y="71"/>
                  <a:pt x="60" y="72"/>
                  <a:pt x="59" y="72"/>
                </a:cubicBezTo>
                <a:cubicBezTo>
                  <a:pt x="61" y="67"/>
                  <a:pt x="62" y="62"/>
                  <a:pt x="60" y="58"/>
                </a:cubicBezTo>
                <a:cubicBezTo>
                  <a:pt x="57" y="52"/>
                  <a:pt x="47" y="33"/>
                  <a:pt x="41" y="30"/>
                </a:cubicBezTo>
                <a:cubicBezTo>
                  <a:pt x="36" y="26"/>
                  <a:pt x="26" y="23"/>
                  <a:pt x="21" y="23"/>
                </a:cubicBezTo>
                <a:cubicBezTo>
                  <a:pt x="16" y="23"/>
                  <a:pt x="12" y="26"/>
                  <a:pt x="8" y="22"/>
                </a:cubicBezTo>
                <a:cubicBezTo>
                  <a:pt x="7" y="22"/>
                  <a:pt x="4" y="20"/>
                  <a:pt x="0" y="17"/>
                </a:cubicBezTo>
                <a:cubicBezTo>
                  <a:pt x="3" y="11"/>
                  <a:pt x="6" y="5"/>
                  <a:pt x="9" y="5"/>
                </a:cubicBezTo>
                <a:cubicBezTo>
                  <a:pt x="14" y="5"/>
                  <a:pt x="41" y="8"/>
                  <a:pt x="47" y="8"/>
                </a:cubicBezTo>
                <a:cubicBezTo>
                  <a:pt x="53" y="8"/>
                  <a:pt x="66" y="5"/>
                  <a:pt x="76" y="5"/>
                </a:cubicBezTo>
                <a:cubicBezTo>
                  <a:pt x="86" y="5"/>
                  <a:pt x="103" y="14"/>
                  <a:pt x="108" y="15"/>
                </a:cubicBezTo>
                <a:cubicBezTo>
                  <a:pt x="113" y="16"/>
                  <a:pt x="121" y="2"/>
                  <a:pt x="126" y="1"/>
                </a:cubicBezTo>
                <a:cubicBezTo>
                  <a:pt x="132" y="0"/>
                  <a:pt x="148" y="0"/>
                  <a:pt x="153" y="0"/>
                </a:cubicBezTo>
                <a:cubicBezTo>
                  <a:pt x="159" y="1"/>
                  <a:pt x="153" y="10"/>
                  <a:pt x="155" y="11"/>
                </a:cubicBezTo>
                <a:cubicBezTo>
                  <a:pt x="158" y="12"/>
                  <a:pt x="163" y="13"/>
                  <a:pt x="167" y="14"/>
                </a:cubicBezTo>
                <a:cubicBezTo>
                  <a:pt x="185" y="18"/>
                  <a:pt x="185" y="18"/>
                  <a:pt x="185" y="18"/>
                </a:cubicBezTo>
                <a:cubicBezTo>
                  <a:pt x="183" y="20"/>
                  <a:pt x="181" y="22"/>
                  <a:pt x="180" y="24"/>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28" name="Freeform 122"/>
          <p:cNvSpPr>
            <a:spLocks/>
          </p:cNvSpPr>
          <p:nvPr>
            <p:custDataLst>
              <p:tags r:id="rId7"/>
            </p:custDataLst>
          </p:nvPr>
        </p:nvSpPr>
        <p:spPr bwMode="gray">
          <a:xfrm>
            <a:off x="4658097" y="3756817"/>
            <a:ext cx="2009405" cy="741014"/>
          </a:xfrm>
          <a:custGeom>
            <a:avLst/>
            <a:gdLst>
              <a:gd name="T0" fmla="*/ 556 w 556"/>
              <a:gd name="T1" fmla="*/ 141 h 277"/>
              <a:gd name="T2" fmla="*/ 513 w 556"/>
              <a:gd name="T3" fmla="*/ 148 h 277"/>
              <a:gd name="T4" fmla="*/ 483 w 556"/>
              <a:gd name="T5" fmla="*/ 161 h 277"/>
              <a:gd name="T6" fmla="*/ 433 w 556"/>
              <a:gd name="T7" fmla="*/ 188 h 277"/>
              <a:gd name="T8" fmla="*/ 374 w 556"/>
              <a:gd name="T9" fmla="*/ 203 h 277"/>
              <a:gd name="T10" fmla="*/ 330 w 556"/>
              <a:gd name="T11" fmla="*/ 217 h 277"/>
              <a:gd name="T12" fmla="*/ 332 w 556"/>
              <a:gd name="T13" fmla="*/ 239 h 277"/>
              <a:gd name="T14" fmla="*/ 319 w 556"/>
              <a:gd name="T15" fmla="*/ 257 h 277"/>
              <a:gd name="T16" fmla="*/ 310 w 556"/>
              <a:gd name="T17" fmla="*/ 249 h 277"/>
              <a:gd name="T18" fmla="*/ 313 w 556"/>
              <a:gd name="T19" fmla="*/ 227 h 277"/>
              <a:gd name="T20" fmla="*/ 294 w 556"/>
              <a:gd name="T21" fmla="*/ 231 h 277"/>
              <a:gd name="T22" fmla="*/ 251 w 556"/>
              <a:gd name="T23" fmla="*/ 247 h 277"/>
              <a:gd name="T24" fmla="*/ 215 w 556"/>
              <a:gd name="T25" fmla="*/ 266 h 277"/>
              <a:gd name="T26" fmla="*/ 152 w 556"/>
              <a:gd name="T27" fmla="*/ 244 h 277"/>
              <a:gd name="T28" fmla="*/ 129 w 556"/>
              <a:gd name="T29" fmla="*/ 274 h 277"/>
              <a:gd name="T30" fmla="*/ 97 w 556"/>
              <a:gd name="T31" fmla="*/ 258 h 277"/>
              <a:gd name="T32" fmla="*/ 72 w 556"/>
              <a:gd name="T33" fmla="*/ 265 h 277"/>
              <a:gd name="T34" fmla="*/ 48 w 556"/>
              <a:gd name="T35" fmla="*/ 251 h 277"/>
              <a:gd name="T36" fmla="*/ 15 w 556"/>
              <a:gd name="T37" fmla="*/ 209 h 277"/>
              <a:gd name="T38" fmla="*/ 4 w 556"/>
              <a:gd name="T39" fmla="*/ 197 h 277"/>
              <a:gd name="T40" fmla="*/ 30 w 556"/>
              <a:gd name="T41" fmla="*/ 178 h 277"/>
              <a:gd name="T42" fmla="*/ 7 w 556"/>
              <a:gd name="T43" fmla="*/ 166 h 277"/>
              <a:gd name="T44" fmla="*/ 25 w 556"/>
              <a:gd name="T45" fmla="*/ 132 h 277"/>
              <a:gd name="T46" fmla="*/ 60 w 556"/>
              <a:gd name="T47" fmla="*/ 124 h 277"/>
              <a:gd name="T48" fmla="*/ 86 w 556"/>
              <a:gd name="T49" fmla="*/ 115 h 277"/>
              <a:gd name="T50" fmla="*/ 89 w 556"/>
              <a:gd name="T51" fmla="*/ 99 h 277"/>
              <a:gd name="T52" fmla="*/ 146 w 556"/>
              <a:gd name="T53" fmla="*/ 89 h 277"/>
              <a:gd name="T54" fmla="*/ 183 w 556"/>
              <a:gd name="T55" fmla="*/ 54 h 277"/>
              <a:gd name="T56" fmla="*/ 234 w 556"/>
              <a:gd name="T57" fmla="*/ 41 h 277"/>
              <a:gd name="T58" fmla="*/ 251 w 556"/>
              <a:gd name="T59" fmla="*/ 35 h 277"/>
              <a:gd name="T60" fmla="*/ 263 w 556"/>
              <a:gd name="T61" fmla="*/ 48 h 277"/>
              <a:gd name="T62" fmla="*/ 280 w 556"/>
              <a:gd name="T63" fmla="*/ 46 h 277"/>
              <a:gd name="T64" fmla="*/ 292 w 556"/>
              <a:gd name="T65" fmla="*/ 57 h 277"/>
              <a:gd name="T66" fmla="*/ 305 w 556"/>
              <a:gd name="T67" fmla="*/ 52 h 277"/>
              <a:gd name="T68" fmla="*/ 339 w 556"/>
              <a:gd name="T69" fmla="*/ 59 h 277"/>
              <a:gd name="T70" fmla="*/ 393 w 556"/>
              <a:gd name="T71" fmla="*/ 45 h 277"/>
              <a:gd name="T72" fmla="*/ 425 w 556"/>
              <a:gd name="T73" fmla="*/ 12 h 277"/>
              <a:gd name="T74" fmla="*/ 454 w 556"/>
              <a:gd name="T75" fmla="*/ 1 h 277"/>
              <a:gd name="T76" fmla="*/ 483 w 556"/>
              <a:gd name="T77" fmla="*/ 14 h 277"/>
              <a:gd name="T78" fmla="*/ 490 w 556"/>
              <a:gd name="T79" fmla="*/ 24 h 277"/>
              <a:gd name="T80" fmla="*/ 514 w 556"/>
              <a:gd name="T81" fmla="*/ 43 h 277"/>
              <a:gd name="T82" fmla="*/ 521 w 556"/>
              <a:gd name="T83" fmla="*/ 65 h 277"/>
              <a:gd name="T84" fmla="*/ 534 w 556"/>
              <a:gd name="T85" fmla="*/ 99 h 277"/>
              <a:gd name="T86" fmla="*/ 546 w 556"/>
              <a:gd name="T87" fmla="*/ 12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6" h="277">
                <a:moveTo>
                  <a:pt x="546" y="126"/>
                </a:moveTo>
                <a:cubicBezTo>
                  <a:pt x="551" y="130"/>
                  <a:pt x="556" y="141"/>
                  <a:pt x="556" y="141"/>
                </a:cubicBezTo>
                <a:cubicBezTo>
                  <a:pt x="556" y="141"/>
                  <a:pt x="548" y="153"/>
                  <a:pt x="543" y="151"/>
                </a:cubicBezTo>
                <a:cubicBezTo>
                  <a:pt x="539" y="150"/>
                  <a:pt x="523" y="147"/>
                  <a:pt x="513" y="148"/>
                </a:cubicBezTo>
                <a:cubicBezTo>
                  <a:pt x="503" y="149"/>
                  <a:pt x="497" y="153"/>
                  <a:pt x="495" y="159"/>
                </a:cubicBezTo>
                <a:cubicBezTo>
                  <a:pt x="492" y="164"/>
                  <a:pt x="485" y="158"/>
                  <a:pt x="483" y="161"/>
                </a:cubicBezTo>
                <a:cubicBezTo>
                  <a:pt x="480" y="164"/>
                  <a:pt x="464" y="174"/>
                  <a:pt x="458" y="174"/>
                </a:cubicBezTo>
                <a:cubicBezTo>
                  <a:pt x="452" y="174"/>
                  <a:pt x="444" y="174"/>
                  <a:pt x="433" y="188"/>
                </a:cubicBezTo>
                <a:cubicBezTo>
                  <a:pt x="421" y="201"/>
                  <a:pt x="408" y="203"/>
                  <a:pt x="402" y="205"/>
                </a:cubicBezTo>
                <a:cubicBezTo>
                  <a:pt x="395" y="207"/>
                  <a:pt x="380" y="199"/>
                  <a:pt x="374" y="203"/>
                </a:cubicBezTo>
                <a:cubicBezTo>
                  <a:pt x="368" y="206"/>
                  <a:pt x="356" y="218"/>
                  <a:pt x="351" y="218"/>
                </a:cubicBezTo>
                <a:cubicBezTo>
                  <a:pt x="345" y="218"/>
                  <a:pt x="333" y="215"/>
                  <a:pt x="330" y="217"/>
                </a:cubicBezTo>
                <a:cubicBezTo>
                  <a:pt x="327" y="219"/>
                  <a:pt x="326" y="225"/>
                  <a:pt x="327" y="227"/>
                </a:cubicBezTo>
                <a:cubicBezTo>
                  <a:pt x="327" y="228"/>
                  <a:pt x="334" y="236"/>
                  <a:pt x="332" y="239"/>
                </a:cubicBezTo>
                <a:cubicBezTo>
                  <a:pt x="329" y="242"/>
                  <a:pt x="325" y="245"/>
                  <a:pt x="323" y="251"/>
                </a:cubicBezTo>
                <a:cubicBezTo>
                  <a:pt x="321" y="258"/>
                  <a:pt x="319" y="254"/>
                  <a:pt x="319" y="257"/>
                </a:cubicBezTo>
                <a:cubicBezTo>
                  <a:pt x="319" y="260"/>
                  <a:pt x="312" y="260"/>
                  <a:pt x="309" y="258"/>
                </a:cubicBezTo>
                <a:cubicBezTo>
                  <a:pt x="306" y="256"/>
                  <a:pt x="312" y="251"/>
                  <a:pt x="310" y="249"/>
                </a:cubicBezTo>
                <a:cubicBezTo>
                  <a:pt x="307" y="246"/>
                  <a:pt x="303" y="242"/>
                  <a:pt x="305" y="240"/>
                </a:cubicBezTo>
                <a:cubicBezTo>
                  <a:pt x="308" y="238"/>
                  <a:pt x="312" y="231"/>
                  <a:pt x="313" y="227"/>
                </a:cubicBezTo>
                <a:cubicBezTo>
                  <a:pt x="314" y="222"/>
                  <a:pt x="314" y="217"/>
                  <a:pt x="310" y="216"/>
                </a:cubicBezTo>
                <a:cubicBezTo>
                  <a:pt x="306" y="214"/>
                  <a:pt x="299" y="230"/>
                  <a:pt x="294" y="231"/>
                </a:cubicBezTo>
                <a:cubicBezTo>
                  <a:pt x="290" y="232"/>
                  <a:pt x="273" y="225"/>
                  <a:pt x="269" y="228"/>
                </a:cubicBezTo>
                <a:cubicBezTo>
                  <a:pt x="264" y="231"/>
                  <a:pt x="253" y="244"/>
                  <a:pt x="251" y="247"/>
                </a:cubicBezTo>
                <a:cubicBezTo>
                  <a:pt x="250" y="250"/>
                  <a:pt x="246" y="252"/>
                  <a:pt x="241" y="256"/>
                </a:cubicBezTo>
                <a:cubicBezTo>
                  <a:pt x="236" y="260"/>
                  <a:pt x="221" y="268"/>
                  <a:pt x="215" y="266"/>
                </a:cubicBezTo>
                <a:cubicBezTo>
                  <a:pt x="208" y="264"/>
                  <a:pt x="197" y="252"/>
                  <a:pt x="193" y="250"/>
                </a:cubicBezTo>
                <a:cubicBezTo>
                  <a:pt x="189" y="249"/>
                  <a:pt x="159" y="241"/>
                  <a:pt x="152" y="244"/>
                </a:cubicBezTo>
                <a:cubicBezTo>
                  <a:pt x="146" y="247"/>
                  <a:pt x="150" y="266"/>
                  <a:pt x="147" y="270"/>
                </a:cubicBezTo>
                <a:cubicBezTo>
                  <a:pt x="144" y="274"/>
                  <a:pt x="137" y="272"/>
                  <a:pt x="129" y="274"/>
                </a:cubicBezTo>
                <a:cubicBezTo>
                  <a:pt x="121" y="277"/>
                  <a:pt x="107" y="272"/>
                  <a:pt x="106" y="266"/>
                </a:cubicBezTo>
                <a:cubicBezTo>
                  <a:pt x="105" y="260"/>
                  <a:pt x="101" y="260"/>
                  <a:pt x="97" y="258"/>
                </a:cubicBezTo>
                <a:cubicBezTo>
                  <a:pt x="93" y="257"/>
                  <a:pt x="86" y="254"/>
                  <a:pt x="83" y="258"/>
                </a:cubicBezTo>
                <a:cubicBezTo>
                  <a:pt x="81" y="261"/>
                  <a:pt x="76" y="270"/>
                  <a:pt x="72" y="265"/>
                </a:cubicBezTo>
                <a:cubicBezTo>
                  <a:pt x="68" y="260"/>
                  <a:pt x="70" y="251"/>
                  <a:pt x="66" y="251"/>
                </a:cubicBezTo>
                <a:cubicBezTo>
                  <a:pt x="62" y="251"/>
                  <a:pt x="53" y="256"/>
                  <a:pt x="48" y="251"/>
                </a:cubicBezTo>
                <a:cubicBezTo>
                  <a:pt x="44" y="247"/>
                  <a:pt x="49" y="222"/>
                  <a:pt x="43" y="219"/>
                </a:cubicBezTo>
                <a:cubicBezTo>
                  <a:pt x="37" y="216"/>
                  <a:pt x="19" y="208"/>
                  <a:pt x="15" y="209"/>
                </a:cubicBezTo>
                <a:cubicBezTo>
                  <a:pt x="11" y="210"/>
                  <a:pt x="9" y="220"/>
                  <a:pt x="5" y="214"/>
                </a:cubicBezTo>
                <a:cubicBezTo>
                  <a:pt x="0" y="208"/>
                  <a:pt x="0" y="199"/>
                  <a:pt x="4" y="197"/>
                </a:cubicBezTo>
                <a:cubicBezTo>
                  <a:pt x="7" y="195"/>
                  <a:pt x="23" y="197"/>
                  <a:pt x="26" y="193"/>
                </a:cubicBezTo>
                <a:cubicBezTo>
                  <a:pt x="29" y="190"/>
                  <a:pt x="35" y="183"/>
                  <a:pt x="30" y="178"/>
                </a:cubicBezTo>
                <a:cubicBezTo>
                  <a:pt x="26" y="173"/>
                  <a:pt x="34" y="167"/>
                  <a:pt x="29" y="164"/>
                </a:cubicBezTo>
                <a:cubicBezTo>
                  <a:pt x="24" y="160"/>
                  <a:pt x="13" y="169"/>
                  <a:pt x="7" y="166"/>
                </a:cubicBezTo>
                <a:cubicBezTo>
                  <a:pt x="5" y="165"/>
                  <a:pt x="9" y="154"/>
                  <a:pt x="12" y="144"/>
                </a:cubicBezTo>
                <a:cubicBezTo>
                  <a:pt x="13" y="140"/>
                  <a:pt x="19" y="135"/>
                  <a:pt x="25" y="132"/>
                </a:cubicBezTo>
                <a:cubicBezTo>
                  <a:pt x="30" y="130"/>
                  <a:pt x="35" y="127"/>
                  <a:pt x="40" y="128"/>
                </a:cubicBezTo>
                <a:cubicBezTo>
                  <a:pt x="45" y="129"/>
                  <a:pt x="55" y="126"/>
                  <a:pt x="60" y="124"/>
                </a:cubicBezTo>
                <a:cubicBezTo>
                  <a:pt x="65" y="122"/>
                  <a:pt x="84" y="126"/>
                  <a:pt x="87" y="124"/>
                </a:cubicBezTo>
                <a:cubicBezTo>
                  <a:pt x="90" y="121"/>
                  <a:pt x="81" y="117"/>
                  <a:pt x="86" y="115"/>
                </a:cubicBezTo>
                <a:cubicBezTo>
                  <a:pt x="92" y="112"/>
                  <a:pt x="103" y="113"/>
                  <a:pt x="108" y="109"/>
                </a:cubicBezTo>
                <a:cubicBezTo>
                  <a:pt x="112" y="105"/>
                  <a:pt x="88" y="103"/>
                  <a:pt x="89" y="99"/>
                </a:cubicBezTo>
                <a:cubicBezTo>
                  <a:pt x="90" y="95"/>
                  <a:pt x="88" y="93"/>
                  <a:pt x="95" y="93"/>
                </a:cubicBezTo>
                <a:cubicBezTo>
                  <a:pt x="103" y="93"/>
                  <a:pt x="139" y="93"/>
                  <a:pt x="146" y="89"/>
                </a:cubicBezTo>
                <a:cubicBezTo>
                  <a:pt x="152" y="85"/>
                  <a:pt x="148" y="82"/>
                  <a:pt x="153" y="79"/>
                </a:cubicBezTo>
                <a:cubicBezTo>
                  <a:pt x="158" y="76"/>
                  <a:pt x="178" y="56"/>
                  <a:pt x="183" y="54"/>
                </a:cubicBezTo>
                <a:cubicBezTo>
                  <a:pt x="189" y="51"/>
                  <a:pt x="199" y="45"/>
                  <a:pt x="211" y="45"/>
                </a:cubicBezTo>
                <a:cubicBezTo>
                  <a:pt x="222" y="45"/>
                  <a:pt x="231" y="42"/>
                  <a:pt x="234" y="41"/>
                </a:cubicBezTo>
                <a:cubicBezTo>
                  <a:pt x="237" y="39"/>
                  <a:pt x="240" y="36"/>
                  <a:pt x="242" y="33"/>
                </a:cubicBezTo>
                <a:cubicBezTo>
                  <a:pt x="245" y="30"/>
                  <a:pt x="248" y="35"/>
                  <a:pt x="251" y="35"/>
                </a:cubicBezTo>
                <a:cubicBezTo>
                  <a:pt x="253" y="35"/>
                  <a:pt x="247" y="43"/>
                  <a:pt x="251" y="44"/>
                </a:cubicBezTo>
                <a:cubicBezTo>
                  <a:pt x="256" y="45"/>
                  <a:pt x="259" y="48"/>
                  <a:pt x="263" y="48"/>
                </a:cubicBezTo>
                <a:cubicBezTo>
                  <a:pt x="268" y="47"/>
                  <a:pt x="270" y="42"/>
                  <a:pt x="273" y="41"/>
                </a:cubicBezTo>
                <a:cubicBezTo>
                  <a:pt x="276" y="39"/>
                  <a:pt x="280" y="43"/>
                  <a:pt x="280" y="46"/>
                </a:cubicBezTo>
                <a:cubicBezTo>
                  <a:pt x="280" y="49"/>
                  <a:pt x="280" y="51"/>
                  <a:pt x="284" y="54"/>
                </a:cubicBezTo>
                <a:cubicBezTo>
                  <a:pt x="288" y="58"/>
                  <a:pt x="290" y="59"/>
                  <a:pt x="292" y="57"/>
                </a:cubicBezTo>
                <a:cubicBezTo>
                  <a:pt x="295" y="54"/>
                  <a:pt x="294" y="50"/>
                  <a:pt x="297" y="50"/>
                </a:cubicBezTo>
                <a:cubicBezTo>
                  <a:pt x="300" y="50"/>
                  <a:pt x="303" y="48"/>
                  <a:pt x="305" y="52"/>
                </a:cubicBezTo>
                <a:cubicBezTo>
                  <a:pt x="308" y="55"/>
                  <a:pt x="306" y="57"/>
                  <a:pt x="310" y="57"/>
                </a:cubicBezTo>
                <a:cubicBezTo>
                  <a:pt x="314" y="57"/>
                  <a:pt x="331" y="61"/>
                  <a:pt x="339" y="59"/>
                </a:cubicBezTo>
                <a:cubicBezTo>
                  <a:pt x="347" y="56"/>
                  <a:pt x="364" y="43"/>
                  <a:pt x="371" y="43"/>
                </a:cubicBezTo>
                <a:cubicBezTo>
                  <a:pt x="377" y="43"/>
                  <a:pt x="386" y="48"/>
                  <a:pt x="393" y="45"/>
                </a:cubicBezTo>
                <a:cubicBezTo>
                  <a:pt x="399" y="43"/>
                  <a:pt x="418" y="25"/>
                  <a:pt x="422" y="18"/>
                </a:cubicBezTo>
                <a:cubicBezTo>
                  <a:pt x="423" y="16"/>
                  <a:pt x="424" y="14"/>
                  <a:pt x="425" y="12"/>
                </a:cubicBezTo>
                <a:cubicBezTo>
                  <a:pt x="426" y="12"/>
                  <a:pt x="427" y="11"/>
                  <a:pt x="428" y="11"/>
                </a:cubicBezTo>
                <a:cubicBezTo>
                  <a:pt x="434" y="10"/>
                  <a:pt x="450" y="3"/>
                  <a:pt x="454" y="1"/>
                </a:cubicBezTo>
                <a:cubicBezTo>
                  <a:pt x="458" y="0"/>
                  <a:pt x="475" y="7"/>
                  <a:pt x="478" y="10"/>
                </a:cubicBezTo>
                <a:cubicBezTo>
                  <a:pt x="480" y="10"/>
                  <a:pt x="482" y="12"/>
                  <a:pt x="483" y="14"/>
                </a:cubicBezTo>
                <a:cubicBezTo>
                  <a:pt x="483" y="14"/>
                  <a:pt x="483" y="14"/>
                  <a:pt x="483" y="14"/>
                </a:cubicBezTo>
                <a:cubicBezTo>
                  <a:pt x="487" y="17"/>
                  <a:pt x="490" y="22"/>
                  <a:pt x="490" y="24"/>
                </a:cubicBezTo>
                <a:cubicBezTo>
                  <a:pt x="490" y="28"/>
                  <a:pt x="490" y="40"/>
                  <a:pt x="494" y="44"/>
                </a:cubicBezTo>
                <a:cubicBezTo>
                  <a:pt x="497" y="48"/>
                  <a:pt x="509" y="43"/>
                  <a:pt x="514" y="43"/>
                </a:cubicBezTo>
                <a:cubicBezTo>
                  <a:pt x="517" y="43"/>
                  <a:pt x="521" y="48"/>
                  <a:pt x="523" y="53"/>
                </a:cubicBezTo>
                <a:cubicBezTo>
                  <a:pt x="521" y="57"/>
                  <a:pt x="521" y="65"/>
                  <a:pt x="521" y="65"/>
                </a:cubicBezTo>
                <a:cubicBezTo>
                  <a:pt x="514" y="69"/>
                  <a:pt x="514" y="69"/>
                  <a:pt x="514" y="69"/>
                </a:cubicBezTo>
                <a:cubicBezTo>
                  <a:pt x="514" y="69"/>
                  <a:pt x="532" y="94"/>
                  <a:pt x="534" y="99"/>
                </a:cubicBezTo>
                <a:cubicBezTo>
                  <a:pt x="536" y="104"/>
                  <a:pt x="527" y="116"/>
                  <a:pt x="533" y="118"/>
                </a:cubicBezTo>
                <a:cubicBezTo>
                  <a:pt x="539" y="120"/>
                  <a:pt x="541" y="121"/>
                  <a:pt x="546" y="126"/>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29" name="Freeform 123"/>
          <p:cNvSpPr>
            <a:spLocks/>
          </p:cNvSpPr>
          <p:nvPr>
            <p:custDataLst>
              <p:tags r:id="rId8"/>
            </p:custDataLst>
          </p:nvPr>
        </p:nvSpPr>
        <p:spPr bwMode="gray">
          <a:xfrm>
            <a:off x="6404054" y="3746182"/>
            <a:ext cx="383201" cy="203867"/>
          </a:xfrm>
          <a:custGeom>
            <a:avLst/>
            <a:gdLst>
              <a:gd name="T0" fmla="*/ 73 w 106"/>
              <a:gd name="T1" fmla="*/ 74 h 76"/>
              <a:gd name="T2" fmla="*/ 42 w 106"/>
              <a:gd name="T3" fmla="*/ 54 h 76"/>
              <a:gd name="T4" fmla="*/ 40 w 106"/>
              <a:gd name="T5" fmla="*/ 57 h 76"/>
              <a:gd name="T6" fmla="*/ 31 w 106"/>
              <a:gd name="T7" fmla="*/ 47 h 76"/>
              <a:gd name="T8" fmla="*/ 11 w 106"/>
              <a:gd name="T9" fmla="*/ 48 h 76"/>
              <a:gd name="T10" fmla="*/ 7 w 106"/>
              <a:gd name="T11" fmla="*/ 28 h 76"/>
              <a:gd name="T12" fmla="*/ 0 w 106"/>
              <a:gd name="T13" fmla="*/ 18 h 76"/>
              <a:gd name="T14" fmla="*/ 10 w 106"/>
              <a:gd name="T15" fmla="*/ 9 h 76"/>
              <a:gd name="T16" fmla="*/ 31 w 106"/>
              <a:gd name="T17" fmla="*/ 1 h 76"/>
              <a:gd name="T18" fmla="*/ 34 w 106"/>
              <a:gd name="T19" fmla="*/ 0 h 76"/>
              <a:gd name="T20" fmla="*/ 50 w 106"/>
              <a:gd name="T21" fmla="*/ 2 h 76"/>
              <a:gd name="T22" fmla="*/ 55 w 106"/>
              <a:gd name="T23" fmla="*/ 14 h 76"/>
              <a:gd name="T24" fmla="*/ 74 w 106"/>
              <a:gd name="T25" fmla="*/ 22 h 76"/>
              <a:gd name="T26" fmla="*/ 74 w 106"/>
              <a:gd name="T27" fmla="*/ 33 h 76"/>
              <a:gd name="T28" fmla="*/ 91 w 106"/>
              <a:gd name="T29" fmla="*/ 40 h 76"/>
              <a:gd name="T30" fmla="*/ 102 w 106"/>
              <a:gd name="T31" fmla="*/ 52 h 76"/>
              <a:gd name="T32" fmla="*/ 106 w 106"/>
              <a:gd name="T33" fmla="*/ 63 h 76"/>
              <a:gd name="T34" fmla="*/ 102 w 106"/>
              <a:gd name="T35" fmla="*/ 67 h 76"/>
              <a:gd name="T36" fmla="*/ 90 w 106"/>
              <a:gd name="T37" fmla="*/ 72 h 76"/>
              <a:gd name="T38" fmla="*/ 73 w 106"/>
              <a:gd name="T39"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76">
                <a:moveTo>
                  <a:pt x="73" y="74"/>
                </a:moveTo>
                <a:cubicBezTo>
                  <a:pt x="68" y="72"/>
                  <a:pt x="47" y="52"/>
                  <a:pt x="42" y="54"/>
                </a:cubicBezTo>
                <a:cubicBezTo>
                  <a:pt x="41" y="55"/>
                  <a:pt x="41" y="56"/>
                  <a:pt x="40" y="57"/>
                </a:cubicBezTo>
                <a:cubicBezTo>
                  <a:pt x="38" y="52"/>
                  <a:pt x="34" y="47"/>
                  <a:pt x="31" y="47"/>
                </a:cubicBezTo>
                <a:cubicBezTo>
                  <a:pt x="26" y="47"/>
                  <a:pt x="14" y="52"/>
                  <a:pt x="11" y="48"/>
                </a:cubicBezTo>
                <a:cubicBezTo>
                  <a:pt x="7" y="44"/>
                  <a:pt x="7" y="32"/>
                  <a:pt x="7" y="28"/>
                </a:cubicBezTo>
                <a:cubicBezTo>
                  <a:pt x="7" y="26"/>
                  <a:pt x="4" y="21"/>
                  <a:pt x="0" y="18"/>
                </a:cubicBezTo>
                <a:cubicBezTo>
                  <a:pt x="10" y="9"/>
                  <a:pt x="10" y="9"/>
                  <a:pt x="10" y="9"/>
                </a:cubicBezTo>
                <a:cubicBezTo>
                  <a:pt x="13" y="5"/>
                  <a:pt x="23" y="2"/>
                  <a:pt x="31" y="1"/>
                </a:cubicBezTo>
                <a:cubicBezTo>
                  <a:pt x="32" y="1"/>
                  <a:pt x="33" y="1"/>
                  <a:pt x="34" y="0"/>
                </a:cubicBezTo>
                <a:cubicBezTo>
                  <a:pt x="41" y="0"/>
                  <a:pt x="47" y="0"/>
                  <a:pt x="50" y="2"/>
                </a:cubicBezTo>
                <a:cubicBezTo>
                  <a:pt x="54" y="5"/>
                  <a:pt x="52" y="9"/>
                  <a:pt x="55" y="14"/>
                </a:cubicBezTo>
                <a:cubicBezTo>
                  <a:pt x="58" y="19"/>
                  <a:pt x="68" y="20"/>
                  <a:pt x="74" y="22"/>
                </a:cubicBezTo>
                <a:cubicBezTo>
                  <a:pt x="79" y="24"/>
                  <a:pt x="73" y="31"/>
                  <a:pt x="74" y="33"/>
                </a:cubicBezTo>
                <a:cubicBezTo>
                  <a:pt x="75" y="36"/>
                  <a:pt x="86" y="39"/>
                  <a:pt x="91" y="40"/>
                </a:cubicBezTo>
                <a:cubicBezTo>
                  <a:pt x="95" y="40"/>
                  <a:pt x="98" y="45"/>
                  <a:pt x="102" y="52"/>
                </a:cubicBezTo>
                <a:cubicBezTo>
                  <a:pt x="103" y="54"/>
                  <a:pt x="105" y="59"/>
                  <a:pt x="106" y="63"/>
                </a:cubicBezTo>
                <a:cubicBezTo>
                  <a:pt x="104" y="65"/>
                  <a:pt x="103" y="67"/>
                  <a:pt x="102" y="67"/>
                </a:cubicBezTo>
                <a:cubicBezTo>
                  <a:pt x="101" y="68"/>
                  <a:pt x="96" y="70"/>
                  <a:pt x="90" y="72"/>
                </a:cubicBezTo>
                <a:cubicBezTo>
                  <a:pt x="83" y="74"/>
                  <a:pt x="76" y="76"/>
                  <a:pt x="73" y="74"/>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30" name="Freeform 125"/>
          <p:cNvSpPr>
            <a:spLocks/>
          </p:cNvSpPr>
          <p:nvPr>
            <p:custDataLst>
              <p:tags r:id="rId9"/>
            </p:custDataLst>
          </p:nvPr>
        </p:nvSpPr>
        <p:spPr bwMode="gray">
          <a:xfrm>
            <a:off x="4473682" y="759084"/>
            <a:ext cx="2557862" cy="2916187"/>
          </a:xfrm>
          <a:custGeom>
            <a:avLst/>
            <a:gdLst>
              <a:gd name="T0" fmla="*/ 616 w 707"/>
              <a:gd name="T1" fmla="*/ 681 h 1090"/>
              <a:gd name="T2" fmla="*/ 551 w 707"/>
              <a:gd name="T3" fmla="*/ 770 h 1090"/>
              <a:gd name="T4" fmla="*/ 517 w 707"/>
              <a:gd name="T5" fmla="*/ 846 h 1090"/>
              <a:gd name="T6" fmla="*/ 596 w 707"/>
              <a:gd name="T7" fmla="*/ 894 h 1090"/>
              <a:gd name="T8" fmla="*/ 582 w 707"/>
              <a:gd name="T9" fmla="*/ 965 h 1090"/>
              <a:gd name="T10" fmla="*/ 605 w 707"/>
              <a:gd name="T11" fmla="*/ 987 h 1090"/>
              <a:gd name="T12" fmla="*/ 650 w 707"/>
              <a:gd name="T13" fmla="*/ 1068 h 1090"/>
              <a:gd name="T14" fmla="*/ 583 w 707"/>
              <a:gd name="T15" fmla="*/ 1074 h 1090"/>
              <a:gd name="T16" fmla="*/ 492 w 707"/>
              <a:gd name="T17" fmla="*/ 1065 h 1090"/>
              <a:gd name="T18" fmla="*/ 344 w 707"/>
              <a:gd name="T19" fmla="*/ 1046 h 1090"/>
              <a:gd name="T20" fmla="*/ 336 w 707"/>
              <a:gd name="T21" fmla="*/ 1018 h 1090"/>
              <a:gd name="T22" fmla="*/ 341 w 707"/>
              <a:gd name="T23" fmla="*/ 970 h 1090"/>
              <a:gd name="T24" fmla="*/ 336 w 707"/>
              <a:gd name="T25" fmla="*/ 944 h 1090"/>
              <a:gd name="T26" fmla="*/ 364 w 707"/>
              <a:gd name="T27" fmla="*/ 865 h 1090"/>
              <a:gd name="T28" fmla="*/ 248 w 707"/>
              <a:gd name="T29" fmla="*/ 848 h 1090"/>
              <a:gd name="T30" fmla="*/ 194 w 707"/>
              <a:gd name="T31" fmla="*/ 784 h 1090"/>
              <a:gd name="T32" fmla="*/ 143 w 707"/>
              <a:gd name="T33" fmla="*/ 789 h 1090"/>
              <a:gd name="T34" fmla="*/ 140 w 707"/>
              <a:gd name="T35" fmla="*/ 733 h 1090"/>
              <a:gd name="T36" fmla="*/ 52 w 707"/>
              <a:gd name="T37" fmla="*/ 663 h 1090"/>
              <a:gd name="T38" fmla="*/ 29 w 707"/>
              <a:gd name="T39" fmla="*/ 610 h 1090"/>
              <a:gd name="T40" fmla="*/ 35 w 707"/>
              <a:gd name="T41" fmla="*/ 543 h 1090"/>
              <a:gd name="T42" fmla="*/ 72 w 707"/>
              <a:gd name="T43" fmla="*/ 526 h 1090"/>
              <a:gd name="T44" fmla="*/ 41 w 707"/>
              <a:gd name="T45" fmla="*/ 508 h 1090"/>
              <a:gd name="T46" fmla="*/ 15 w 707"/>
              <a:gd name="T47" fmla="*/ 504 h 1090"/>
              <a:gd name="T48" fmla="*/ 53 w 707"/>
              <a:gd name="T49" fmla="*/ 364 h 1090"/>
              <a:gd name="T50" fmla="*/ 27 w 707"/>
              <a:gd name="T51" fmla="*/ 238 h 1090"/>
              <a:gd name="T52" fmla="*/ 17 w 707"/>
              <a:gd name="T53" fmla="*/ 184 h 1090"/>
              <a:gd name="T54" fmla="*/ 35 w 707"/>
              <a:gd name="T55" fmla="*/ 152 h 1090"/>
              <a:gd name="T56" fmla="*/ 40 w 707"/>
              <a:gd name="T57" fmla="*/ 165 h 1090"/>
              <a:gd name="T58" fmla="*/ 94 w 707"/>
              <a:gd name="T59" fmla="*/ 171 h 1090"/>
              <a:gd name="T60" fmla="*/ 182 w 707"/>
              <a:gd name="T61" fmla="*/ 218 h 1090"/>
              <a:gd name="T62" fmla="*/ 136 w 707"/>
              <a:gd name="T63" fmla="*/ 271 h 1090"/>
              <a:gd name="T64" fmla="*/ 77 w 707"/>
              <a:gd name="T65" fmla="*/ 261 h 1090"/>
              <a:gd name="T66" fmla="*/ 67 w 707"/>
              <a:gd name="T67" fmla="*/ 264 h 1090"/>
              <a:gd name="T68" fmla="*/ 108 w 707"/>
              <a:gd name="T69" fmla="*/ 316 h 1090"/>
              <a:gd name="T70" fmla="*/ 134 w 707"/>
              <a:gd name="T71" fmla="*/ 343 h 1090"/>
              <a:gd name="T72" fmla="*/ 171 w 707"/>
              <a:gd name="T73" fmla="*/ 339 h 1090"/>
              <a:gd name="T74" fmla="*/ 146 w 707"/>
              <a:gd name="T75" fmla="*/ 318 h 1090"/>
              <a:gd name="T76" fmla="*/ 180 w 707"/>
              <a:gd name="T77" fmla="*/ 317 h 1090"/>
              <a:gd name="T78" fmla="*/ 188 w 707"/>
              <a:gd name="T79" fmla="*/ 280 h 1090"/>
              <a:gd name="T80" fmla="*/ 226 w 707"/>
              <a:gd name="T81" fmla="*/ 239 h 1090"/>
              <a:gd name="T82" fmla="*/ 226 w 707"/>
              <a:gd name="T83" fmla="*/ 210 h 1090"/>
              <a:gd name="T84" fmla="*/ 196 w 707"/>
              <a:gd name="T85" fmla="*/ 158 h 1090"/>
              <a:gd name="T86" fmla="*/ 250 w 707"/>
              <a:gd name="T87" fmla="*/ 174 h 1090"/>
              <a:gd name="T88" fmla="*/ 276 w 707"/>
              <a:gd name="T89" fmla="*/ 199 h 1090"/>
              <a:gd name="T90" fmla="*/ 281 w 707"/>
              <a:gd name="T91" fmla="*/ 157 h 1090"/>
              <a:gd name="T92" fmla="*/ 324 w 707"/>
              <a:gd name="T93" fmla="*/ 96 h 1090"/>
              <a:gd name="T94" fmla="*/ 339 w 707"/>
              <a:gd name="T95" fmla="*/ 112 h 1090"/>
              <a:gd name="T96" fmla="*/ 363 w 707"/>
              <a:gd name="T97" fmla="*/ 87 h 1090"/>
              <a:gd name="T98" fmla="*/ 390 w 707"/>
              <a:gd name="T99" fmla="*/ 76 h 1090"/>
              <a:gd name="T100" fmla="*/ 382 w 707"/>
              <a:gd name="T101" fmla="*/ 14 h 1090"/>
              <a:gd name="T102" fmla="*/ 488 w 707"/>
              <a:gd name="T103" fmla="*/ 6 h 1090"/>
              <a:gd name="T104" fmla="*/ 517 w 707"/>
              <a:gd name="T105" fmla="*/ 252 h 1090"/>
              <a:gd name="T106" fmla="*/ 676 w 707"/>
              <a:gd name="T107" fmla="*/ 57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7" h="1090">
                <a:moveTo>
                  <a:pt x="701" y="631"/>
                </a:moveTo>
                <a:cubicBezTo>
                  <a:pt x="707" y="646"/>
                  <a:pt x="699" y="645"/>
                  <a:pt x="691" y="649"/>
                </a:cubicBezTo>
                <a:cubicBezTo>
                  <a:pt x="683" y="653"/>
                  <a:pt x="666" y="655"/>
                  <a:pt x="656" y="655"/>
                </a:cubicBezTo>
                <a:cubicBezTo>
                  <a:pt x="646" y="655"/>
                  <a:pt x="634" y="668"/>
                  <a:pt x="623" y="675"/>
                </a:cubicBezTo>
                <a:cubicBezTo>
                  <a:pt x="620" y="676"/>
                  <a:pt x="618" y="678"/>
                  <a:pt x="616" y="681"/>
                </a:cubicBezTo>
                <a:cubicBezTo>
                  <a:pt x="610" y="681"/>
                  <a:pt x="603" y="681"/>
                  <a:pt x="594" y="682"/>
                </a:cubicBezTo>
                <a:cubicBezTo>
                  <a:pt x="594" y="682"/>
                  <a:pt x="570" y="693"/>
                  <a:pt x="565" y="696"/>
                </a:cubicBezTo>
                <a:cubicBezTo>
                  <a:pt x="560" y="698"/>
                  <a:pt x="559" y="716"/>
                  <a:pt x="555" y="721"/>
                </a:cubicBezTo>
                <a:cubicBezTo>
                  <a:pt x="551" y="725"/>
                  <a:pt x="541" y="743"/>
                  <a:pt x="539" y="750"/>
                </a:cubicBezTo>
                <a:cubicBezTo>
                  <a:pt x="538" y="757"/>
                  <a:pt x="549" y="763"/>
                  <a:pt x="551" y="770"/>
                </a:cubicBezTo>
                <a:cubicBezTo>
                  <a:pt x="553" y="777"/>
                  <a:pt x="545" y="778"/>
                  <a:pt x="539" y="781"/>
                </a:cubicBezTo>
                <a:cubicBezTo>
                  <a:pt x="533" y="785"/>
                  <a:pt x="518" y="767"/>
                  <a:pt x="513" y="769"/>
                </a:cubicBezTo>
                <a:cubicBezTo>
                  <a:pt x="508" y="770"/>
                  <a:pt x="508" y="788"/>
                  <a:pt x="509" y="793"/>
                </a:cubicBezTo>
                <a:cubicBezTo>
                  <a:pt x="510" y="798"/>
                  <a:pt x="510" y="802"/>
                  <a:pt x="513" y="812"/>
                </a:cubicBezTo>
                <a:cubicBezTo>
                  <a:pt x="516" y="823"/>
                  <a:pt x="517" y="846"/>
                  <a:pt x="517" y="846"/>
                </a:cubicBezTo>
                <a:cubicBezTo>
                  <a:pt x="517" y="846"/>
                  <a:pt x="531" y="845"/>
                  <a:pt x="535" y="850"/>
                </a:cubicBezTo>
                <a:cubicBezTo>
                  <a:pt x="539" y="855"/>
                  <a:pt x="541" y="864"/>
                  <a:pt x="546" y="867"/>
                </a:cubicBezTo>
                <a:cubicBezTo>
                  <a:pt x="552" y="870"/>
                  <a:pt x="558" y="860"/>
                  <a:pt x="566" y="858"/>
                </a:cubicBezTo>
                <a:cubicBezTo>
                  <a:pt x="574" y="857"/>
                  <a:pt x="583" y="869"/>
                  <a:pt x="592" y="876"/>
                </a:cubicBezTo>
                <a:cubicBezTo>
                  <a:pt x="601" y="883"/>
                  <a:pt x="590" y="891"/>
                  <a:pt x="596" y="894"/>
                </a:cubicBezTo>
                <a:cubicBezTo>
                  <a:pt x="599" y="895"/>
                  <a:pt x="603" y="896"/>
                  <a:pt x="607" y="898"/>
                </a:cubicBezTo>
                <a:cubicBezTo>
                  <a:pt x="606" y="903"/>
                  <a:pt x="608" y="908"/>
                  <a:pt x="607" y="912"/>
                </a:cubicBezTo>
                <a:cubicBezTo>
                  <a:pt x="606" y="918"/>
                  <a:pt x="600" y="927"/>
                  <a:pt x="594" y="929"/>
                </a:cubicBezTo>
                <a:cubicBezTo>
                  <a:pt x="588" y="931"/>
                  <a:pt x="585" y="932"/>
                  <a:pt x="583" y="940"/>
                </a:cubicBezTo>
                <a:cubicBezTo>
                  <a:pt x="581" y="947"/>
                  <a:pt x="583" y="961"/>
                  <a:pt x="582" y="965"/>
                </a:cubicBezTo>
                <a:cubicBezTo>
                  <a:pt x="580" y="968"/>
                  <a:pt x="574" y="971"/>
                  <a:pt x="574" y="976"/>
                </a:cubicBezTo>
                <a:cubicBezTo>
                  <a:pt x="574" y="981"/>
                  <a:pt x="573" y="987"/>
                  <a:pt x="578" y="986"/>
                </a:cubicBezTo>
                <a:cubicBezTo>
                  <a:pt x="584" y="985"/>
                  <a:pt x="586" y="984"/>
                  <a:pt x="590" y="988"/>
                </a:cubicBezTo>
                <a:cubicBezTo>
                  <a:pt x="594" y="992"/>
                  <a:pt x="595" y="992"/>
                  <a:pt x="597" y="994"/>
                </a:cubicBezTo>
                <a:cubicBezTo>
                  <a:pt x="599" y="996"/>
                  <a:pt x="602" y="988"/>
                  <a:pt x="605" y="987"/>
                </a:cubicBezTo>
                <a:cubicBezTo>
                  <a:pt x="608" y="986"/>
                  <a:pt x="608" y="989"/>
                  <a:pt x="608" y="996"/>
                </a:cubicBezTo>
                <a:cubicBezTo>
                  <a:pt x="608" y="1002"/>
                  <a:pt x="609" y="1023"/>
                  <a:pt x="610" y="1026"/>
                </a:cubicBezTo>
                <a:cubicBezTo>
                  <a:pt x="612" y="1028"/>
                  <a:pt x="625" y="1038"/>
                  <a:pt x="629" y="1041"/>
                </a:cubicBezTo>
                <a:cubicBezTo>
                  <a:pt x="633" y="1044"/>
                  <a:pt x="645" y="1052"/>
                  <a:pt x="651" y="1056"/>
                </a:cubicBezTo>
                <a:cubicBezTo>
                  <a:pt x="650" y="1068"/>
                  <a:pt x="650" y="1068"/>
                  <a:pt x="650" y="1068"/>
                </a:cubicBezTo>
                <a:cubicBezTo>
                  <a:pt x="650" y="1068"/>
                  <a:pt x="645" y="1082"/>
                  <a:pt x="643" y="1086"/>
                </a:cubicBezTo>
                <a:cubicBezTo>
                  <a:pt x="641" y="1090"/>
                  <a:pt x="636" y="1086"/>
                  <a:pt x="633" y="1086"/>
                </a:cubicBezTo>
                <a:cubicBezTo>
                  <a:pt x="629" y="1086"/>
                  <a:pt x="612" y="1074"/>
                  <a:pt x="609" y="1073"/>
                </a:cubicBezTo>
                <a:cubicBezTo>
                  <a:pt x="607" y="1073"/>
                  <a:pt x="604" y="1075"/>
                  <a:pt x="601" y="1078"/>
                </a:cubicBezTo>
                <a:cubicBezTo>
                  <a:pt x="583" y="1074"/>
                  <a:pt x="583" y="1074"/>
                  <a:pt x="583" y="1074"/>
                </a:cubicBezTo>
                <a:cubicBezTo>
                  <a:pt x="579" y="1073"/>
                  <a:pt x="574" y="1072"/>
                  <a:pt x="571" y="1071"/>
                </a:cubicBezTo>
                <a:cubicBezTo>
                  <a:pt x="569" y="1070"/>
                  <a:pt x="575" y="1061"/>
                  <a:pt x="569" y="1060"/>
                </a:cubicBezTo>
                <a:cubicBezTo>
                  <a:pt x="564" y="1060"/>
                  <a:pt x="548" y="1060"/>
                  <a:pt x="542" y="1061"/>
                </a:cubicBezTo>
                <a:cubicBezTo>
                  <a:pt x="537" y="1062"/>
                  <a:pt x="529" y="1076"/>
                  <a:pt x="524" y="1075"/>
                </a:cubicBezTo>
                <a:cubicBezTo>
                  <a:pt x="519" y="1074"/>
                  <a:pt x="502" y="1065"/>
                  <a:pt x="492" y="1065"/>
                </a:cubicBezTo>
                <a:cubicBezTo>
                  <a:pt x="482" y="1065"/>
                  <a:pt x="469" y="1068"/>
                  <a:pt x="463" y="1068"/>
                </a:cubicBezTo>
                <a:cubicBezTo>
                  <a:pt x="457" y="1068"/>
                  <a:pt x="430" y="1065"/>
                  <a:pt x="425" y="1065"/>
                </a:cubicBezTo>
                <a:cubicBezTo>
                  <a:pt x="422" y="1065"/>
                  <a:pt x="419" y="1071"/>
                  <a:pt x="416" y="1077"/>
                </a:cubicBezTo>
                <a:cubicBezTo>
                  <a:pt x="405" y="1070"/>
                  <a:pt x="387" y="1060"/>
                  <a:pt x="382" y="1057"/>
                </a:cubicBezTo>
                <a:cubicBezTo>
                  <a:pt x="374" y="1054"/>
                  <a:pt x="351" y="1048"/>
                  <a:pt x="344" y="1046"/>
                </a:cubicBezTo>
                <a:cubicBezTo>
                  <a:pt x="339" y="1045"/>
                  <a:pt x="334" y="1037"/>
                  <a:pt x="328" y="1036"/>
                </a:cubicBezTo>
                <a:cubicBezTo>
                  <a:pt x="325" y="1035"/>
                  <a:pt x="319" y="1035"/>
                  <a:pt x="317" y="1035"/>
                </a:cubicBezTo>
                <a:cubicBezTo>
                  <a:pt x="314" y="1035"/>
                  <a:pt x="316" y="1028"/>
                  <a:pt x="316" y="1026"/>
                </a:cubicBezTo>
                <a:cubicBezTo>
                  <a:pt x="317" y="1025"/>
                  <a:pt x="319" y="1022"/>
                  <a:pt x="323" y="1023"/>
                </a:cubicBezTo>
                <a:cubicBezTo>
                  <a:pt x="326" y="1025"/>
                  <a:pt x="333" y="1021"/>
                  <a:pt x="336" y="1018"/>
                </a:cubicBezTo>
                <a:cubicBezTo>
                  <a:pt x="339" y="1014"/>
                  <a:pt x="340" y="1001"/>
                  <a:pt x="340" y="998"/>
                </a:cubicBezTo>
                <a:cubicBezTo>
                  <a:pt x="340" y="994"/>
                  <a:pt x="347" y="993"/>
                  <a:pt x="347" y="987"/>
                </a:cubicBezTo>
                <a:cubicBezTo>
                  <a:pt x="347" y="981"/>
                  <a:pt x="340" y="982"/>
                  <a:pt x="338" y="982"/>
                </a:cubicBezTo>
                <a:cubicBezTo>
                  <a:pt x="336" y="982"/>
                  <a:pt x="329" y="974"/>
                  <a:pt x="330" y="972"/>
                </a:cubicBezTo>
                <a:cubicBezTo>
                  <a:pt x="330" y="970"/>
                  <a:pt x="338" y="970"/>
                  <a:pt x="341" y="970"/>
                </a:cubicBezTo>
                <a:cubicBezTo>
                  <a:pt x="344" y="969"/>
                  <a:pt x="345" y="963"/>
                  <a:pt x="348" y="961"/>
                </a:cubicBezTo>
                <a:cubicBezTo>
                  <a:pt x="351" y="960"/>
                  <a:pt x="362" y="952"/>
                  <a:pt x="364" y="951"/>
                </a:cubicBezTo>
                <a:cubicBezTo>
                  <a:pt x="366" y="949"/>
                  <a:pt x="362" y="941"/>
                  <a:pt x="360" y="941"/>
                </a:cubicBezTo>
                <a:cubicBezTo>
                  <a:pt x="358" y="941"/>
                  <a:pt x="348" y="946"/>
                  <a:pt x="339" y="951"/>
                </a:cubicBezTo>
                <a:cubicBezTo>
                  <a:pt x="336" y="944"/>
                  <a:pt x="336" y="944"/>
                  <a:pt x="336" y="944"/>
                </a:cubicBezTo>
                <a:cubicBezTo>
                  <a:pt x="336" y="940"/>
                  <a:pt x="343" y="925"/>
                  <a:pt x="346" y="923"/>
                </a:cubicBezTo>
                <a:cubicBezTo>
                  <a:pt x="348" y="921"/>
                  <a:pt x="368" y="920"/>
                  <a:pt x="369" y="918"/>
                </a:cubicBezTo>
                <a:cubicBezTo>
                  <a:pt x="370" y="916"/>
                  <a:pt x="370" y="906"/>
                  <a:pt x="370" y="903"/>
                </a:cubicBezTo>
                <a:cubicBezTo>
                  <a:pt x="370" y="900"/>
                  <a:pt x="364" y="890"/>
                  <a:pt x="362" y="888"/>
                </a:cubicBezTo>
                <a:cubicBezTo>
                  <a:pt x="360" y="885"/>
                  <a:pt x="364" y="870"/>
                  <a:pt x="364" y="865"/>
                </a:cubicBezTo>
                <a:cubicBezTo>
                  <a:pt x="364" y="859"/>
                  <a:pt x="361" y="852"/>
                  <a:pt x="356" y="852"/>
                </a:cubicBezTo>
                <a:cubicBezTo>
                  <a:pt x="351" y="851"/>
                  <a:pt x="313" y="850"/>
                  <a:pt x="310" y="851"/>
                </a:cubicBezTo>
                <a:cubicBezTo>
                  <a:pt x="308" y="852"/>
                  <a:pt x="292" y="836"/>
                  <a:pt x="289" y="836"/>
                </a:cubicBezTo>
                <a:cubicBezTo>
                  <a:pt x="286" y="837"/>
                  <a:pt x="278" y="847"/>
                  <a:pt x="275" y="848"/>
                </a:cubicBezTo>
                <a:cubicBezTo>
                  <a:pt x="272" y="849"/>
                  <a:pt x="252" y="850"/>
                  <a:pt x="248" y="848"/>
                </a:cubicBezTo>
                <a:cubicBezTo>
                  <a:pt x="244" y="846"/>
                  <a:pt x="236" y="823"/>
                  <a:pt x="230" y="821"/>
                </a:cubicBezTo>
                <a:cubicBezTo>
                  <a:pt x="225" y="819"/>
                  <a:pt x="218" y="824"/>
                  <a:pt x="214" y="824"/>
                </a:cubicBezTo>
                <a:cubicBezTo>
                  <a:pt x="212" y="824"/>
                  <a:pt x="208" y="816"/>
                  <a:pt x="206" y="814"/>
                </a:cubicBezTo>
                <a:cubicBezTo>
                  <a:pt x="204" y="811"/>
                  <a:pt x="213" y="806"/>
                  <a:pt x="212" y="802"/>
                </a:cubicBezTo>
                <a:cubicBezTo>
                  <a:pt x="210" y="799"/>
                  <a:pt x="196" y="784"/>
                  <a:pt x="194" y="784"/>
                </a:cubicBezTo>
                <a:cubicBezTo>
                  <a:pt x="190" y="784"/>
                  <a:pt x="174" y="790"/>
                  <a:pt x="170" y="793"/>
                </a:cubicBezTo>
                <a:cubicBezTo>
                  <a:pt x="166" y="795"/>
                  <a:pt x="157" y="803"/>
                  <a:pt x="153" y="803"/>
                </a:cubicBezTo>
                <a:cubicBezTo>
                  <a:pt x="152" y="803"/>
                  <a:pt x="150" y="803"/>
                  <a:pt x="148" y="803"/>
                </a:cubicBezTo>
                <a:cubicBezTo>
                  <a:pt x="148" y="803"/>
                  <a:pt x="148" y="803"/>
                  <a:pt x="148" y="803"/>
                </a:cubicBezTo>
                <a:cubicBezTo>
                  <a:pt x="143" y="789"/>
                  <a:pt x="143" y="789"/>
                  <a:pt x="143" y="789"/>
                </a:cubicBezTo>
                <a:cubicBezTo>
                  <a:pt x="140" y="784"/>
                  <a:pt x="133" y="772"/>
                  <a:pt x="133" y="772"/>
                </a:cubicBezTo>
                <a:cubicBezTo>
                  <a:pt x="133" y="772"/>
                  <a:pt x="133" y="761"/>
                  <a:pt x="138" y="761"/>
                </a:cubicBezTo>
                <a:cubicBezTo>
                  <a:pt x="142" y="761"/>
                  <a:pt x="149" y="767"/>
                  <a:pt x="153" y="765"/>
                </a:cubicBezTo>
                <a:cubicBezTo>
                  <a:pt x="156" y="763"/>
                  <a:pt x="163" y="754"/>
                  <a:pt x="165" y="750"/>
                </a:cubicBezTo>
                <a:cubicBezTo>
                  <a:pt x="166" y="746"/>
                  <a:pt x="147" y="741"/>
                  <a:pt x="140" y="733"/>
                </a:cubicBezTo>
                <a:cubicBezTo>
                  <a:pt x="133" y="725"/>
                  <a:pt x="116" y="714"/>
                  <a:pt x="115" y="707"/>
                </a:cubicBezTo>
                <a:cubicBezTo>
                  <a:pt x="115" y="701"/>
                  <a:pt x="115" y="689"/>
                  <a:pt x="109" y="680"/>
                </a:cubicBezTo>
                <a:cubicBezTo>
                  <a:pt x="103" y="671"/>
                  <a:pt x="98" y="672"/>
                  <a:pt x="92" y="672"/>
                </a:cubicBezTo>
                <a:cubicBezTo>
                  <a:pt x="86" y="672"/>
                  <a:pt x="64" y="667"/>
                  <a:pt x="64" y="667"/>
                </a:cubicBezTo>
                <a:cubicBezTo>
                  <a:pt x="52" y="663"/>
                  <a:pt x="52" y="663"/>
                  <a:pt x="52" y="663"/>
                </a:cubicBezTo>
                <a:cubicBezTo>
                  <a:pt x="53" y="662"/>
                  <a:pt x="53" y="661"/>
                  <a:pt x="52" y="660"/>
                </a:cubicBezTo>
                <a:cubicBezTo>
                  <a:pt x="52" y="655"/>
                  <a:pt x="42" y="644"/>
                  <a:pt x="41" y="637"/>
                </a:cubicBezTo>
                <a:cubicBezTo>
                  <a:pt x="40" y="631"/>
                  <a:pt x="40" y="625"/>
                  <a:pt x="40" y="623"/>
                </a:cubicBezTo>
                <a:cubicBezTo>
                  <a:pt x="40" y="622"/>
                  <a:pt x="32" y="617"/>
                  <a:pt x="30" y="613"/>
                </a:cubicBezTo>
                <a:cubicBezTo>
                  <a:pt x="29" y="612"/>
                  <a:pt x="29" y="611"/>
                  <a:pt x="29" y="610"/>
                </a:cubicBezTo>
                <a:cubicBezTo>
                  <a:pt x="31" y="606"/>
                  <a:pt x="36" y="603"/>
                  <a:pt x="34" y="598"/>
                </a:cubicBezTo>
                <a:cubicBezTo>
                  <a:pt x="32" y="594"/>
                  <a:pt x="26" y="583"/>
                  <a:pt x="28" y="574"/>
                </a:cubicBezTo>
                <a:cubicBezTo>
                  <a:pt x="30" y="564"/>
                  <a:pt x="40" y="549"/>
                  <a:pt x="40" y="547"/>
                </a:cubicBezTo>
                <a:cubicBezTo>
                  <a:pt x="40" y="547"/>
                  <a:pt x="38" y="545"/>
                  <a:pt x="35" y="543"/>
                </a:cubicBezTo>
                <a:cubicBezTo>
                  <a:pt x="35" y="543"/>
                  <a:pt x="35" y="543"/>
                  <a:pt x="35" y="543"/>
                </a:cubicBezTo>
                <a:cubicBezTo>
                  <a:pt x="37" y="539"/>
                  <a:pt x="31" y="535"/>
                  <a:pt x="33" y="532"/>
                </a:cubicBezTo>
                <a:cubicBezTo>
                  <a:pt x="35" y="529"/>
                  <a:pt x="42" y="528"/>
                  <a:pt x="43" y="528"/>
                </a:cubicBezTo>
                <a:cubicBezTo>
                  <a:pt x="44" y="528"/>
                  <a:pt x="50" y="530"/>
                  <a:pt x="51" y="527"/>
                </a:cubicBezTo>
                <a:cubicBezTo>
                  <a:pt x="52" y="524"/>
                  <a:pt x="51" y="522"/>
                  <a:pt x="54" y="522"/>
                </a:cubicBezTo>
                <a:cubicBezTo>
                  <a:pt x="56" y="523"/>
                  <a:pt x="70" y="527"/>
                  <a:pt x="72" y="526"/>
                </a:cubicBezTo>
                <a:cubicBezTo>
                  <a:pt x="74" y="526"/>
                  <a:pt x="75" y="519"/>
                  <a:pt x="74" y="518"/>
                </a:cubicBezTo>
                <a:cubicBezTo>
                  <a:pt x="73" y="517"/>
                  <a:pt x="68" y="518"/>
                  <a:pt x="68" y="517"/>
                </a:cubicBezTo>
                <a:cubicBezTo>
                  <a:pt x="68" y="515"/>
                  <a:pt x="68" y="511"/>
                  <a:pt x="64" y="511"/>
                </a:cubicBezTo>
                <a:cubicBezTo>
                  <a:pt x="61" y="511"/>
                  <a:pt x="55" y="516"/>
                  <a:pt x="51" y="514"/>
                </a:cubicBezTo>
                <a:cubicBezTo>
                  <a:pt x="47" y="512"/>
                  <a:pt x="43" y="510"/>
                  <a:pt x="41" y="508"/>
                </a:cubicBezTo>
                <a:cubicBezTo>
                  <a:pt x="40" y="505"/>
                  <a:pt x="44" y="498"/>
                  <a:pt x="42" y="496"/>
                </a:cubicBezTo>
                <a:cubicBezTo>
                  <a:pt x="41" y="493"/>
                  <a:pt x="37" y="496"/>
                  <a:pt x="35" y="498"/>
                </a:cubicBezTo>
                <a:cubicBezTo>
                  <a:pt x="33" y="500"/>
                  <a:pt x="33" y="504"/>
                  <a:pt x="29" y="505"/>
                </a:cubicBezTo>
                <a:cubicBezTo>
                  <a:pt x="25" y="506"/>
                  <a:pt x="23" y="506"/>
                  <a:pt x="20" y="506"/>
                </a:cubicBezTo>
                <a:cubicBezTo>
                  <a:pt x="18" y="506"/>
                  <a:pt x="17" y="505"/>
                  <a:pt x="15" y="504"/>
                </a:cubicBezTo>
                <a:cubicBezTo>
                  <a:pt x="20" y="497"/>
                  <a:pt x="25" y="488"/>
                  <a:pt x="27" y="486"/>
                </a:cubicBezTo>
                <a:cubicBezTo>
                  <a:pt x="32" y="482"/>
                  <a:pt x="58" y="440"/>
                  <a:pt x="66" y="430"/>
                </a:cubicBezTo>
                <a:cubicBezTo>
                  <a:pt x="74" y="420"/>
                  <a:pt x="73" y="412"/>
                  <a:pt x="73" y="406"/>
                </a:cubicBezTo>
                <a:cubicBezTo>
                  <a:pt x="73" y="399"/>
                  <a:pt x="46" y="385"/>
                  <a:pt x="48" y="381"/>
                </a:cubicBezTo>
                <a:cubicBezTo>
                  <a:pt x="49" y="377"/>
                  <a:pt x="52" y="370"/>
                  <a:pt x="53" y="364"/>
                </a:cubicBezTo>
                <a:cubicBezTo>
                  <a:pt x="54" y="357"/>
                  <a:pt x="44" y="352"/>
                  <a:pt x="40" y="346"/>
                </a:cubicBezTo>
                <a:cubicBezTo>
                  <a:pt x="36" y="340"/>
                  <a:pt x="32" y="326"/>
                  <a:pt x="31" y="321"/>
                </a:cubicBezTo>
                <a:cubicBezTo>
                  <a:pt x="30" y="315"/>
                  <a:pt x="41" y="313"/>
                  <a:pt x="40" y="310"/>
                </a:cubicBezTo>
                <a:cubicBezTo>
                  <a:pt x="39" y="306"/>
                  <a:pt x="16" y="274"/>
                  <a:pt x="16" y="269"/>
                </a:cubicBezTo>
                <a:cubicBezTo>
                  <a:pt x="16" y="264"/>
                  <a:pt x="28" y="241"/>
                  <a:pt x="27" y="238"/>
                </a:cubicBezTo>
                <a:cubicBezTo>
                  <a:pt x="26" y="236"/>
                  <a:pt x="7" y="224"/>
                  <a:pt x="6" y="223"/>
                </a:cubicBezTo>
                <a:cubicBezTo>
                  <a:pt x="4" y="221"/>
                  <a:pt x="0" y="213"/>
                  <a:pt x="2" y="209"/>
                </a:cubicBezTo>
                <a:cubicBezTo>
                  <a:pt x="10" y="194"/>
                  <a:pt x="10" y="194"/>
                  <a:pt x="10" y="194"/>
                </a:cubicBezTo>
                <a:cubicBezTo>
                  <a:pt x="10" y="194"/>
                  <a:pt x="10" y="194"/>
                  <a:pt x="10" y="194"/>
                </a:cubicBezTo>
                <a:cubicBezTo>
                  <a:pt x="13" y="192"/>
                  <a:pt x="16" y="187"/>
                  <a:pt x="17" y="184"/>
                </a:cubicBezTo>
                <a:cubicBezTo>
                  <a:pt x="19" y="179"/>
                  <a:pt x="22" y="170"/>
                  <a:pt x="22" y="170"/>
                </a:cubicBezTo>
                <a:cubicBezTo>
                  <a:pt x="26" y="169"/>
                  <a:pt x="30" y="171"/>
                  <a:pt x="32" y="165"/>
                </a:cubicBezTo>
                <a:cubicBezTo>
                  <a:pt x="32" y="164"/>
                  <a:pt x="32" y="163"/>
                  <a:pt x="32" y="162"/>
                </a:cubicBezTo>
                <a:cubicBezTo>
                  <a:pt x="33" y="162"/>
                  <a:pt x="35" y="163"/>
                  <a:pt x="35" y="162"/>
                </a:cubicBezTo>
                <a:cubicBezTo>
                  <a:pt x="35" y="160"/>
                  <a:pt x="33" y="153"/>
                  <a:pt x="35" y="152"/>
                </a:cubicBezTo>
                <a:cubicBezTo>
                  <a:pt x="36" y="151"/>
                  <a:pt x="39" y="152"/>
                  <a:pt x="40" y="153"/>
                </a:cubicBezTo>
                <a:cubicBezTo>
                  <a:pt x="42" y="154"/>
                  <a:pt x="45" y="157"/>
                  <a:pt x="47" y="157"/>
                </a:cubicBezTo>
                <a:cubicBezTo>
                  <a:pt x="49" y="157"/>
                  <a:pt x="53" y="156"/>
                  <a:pt x="53" y="158"/>
                </a:cubicBezTo>
                <a:cubicBezTo>
                  <a:pt x="54" y="165"/>
                  <a:pt x="48" y="164"/>
                  <a:pt x="45" y="163"/>
                </a:cubicBezTo>
                <a:cubicBezTo>
                  <a:pt x="42" y="163"/>
                  <a:pt x="40" y="164"/>
                  <a:pt x="40" y="165"/>
                </a:cubicBezTo>
                <a:cubicBezTo>
                  <a:pt x="40" y="166"/>
                  <a:pt x="44" y="170"/>
                  <a:pt x="46" y="171"/>
                </a:cubicBezTo>
                <a:cubicBezTo>
                  <a:pt x="49" y="171"/>
                  <a:pt x="56" y="169"/>
                  <a:pt x="58" y="169"/>
                </a:cubicBezTo>
                <a:cubicBezTo>
                  <a:pt x="60" y="169"/>
                  <a:pt x="60" y="177"/>
                  <a:pt x="63" y="177"/>
                </a:cubicBezTo>
                <a:cubicBezTo>
                  <a:pt x="66" y="177"/>
                  <a:pt x="69" y="171"/>
                  <a:pt x="72" y="171"/>
                </a:cubicBezTo>
                <a:cubicBezTo>
                  <a:pt x="75" y="171"/>
                  <a:pt x="86" y="169"/>
                  <a:pt x="94" y="171"/>
                </a:cubicBezTo>
                <a:cubicBezTo>
                  <a:pt x="102" y="173"/>
                  <a:pt x="120" y="181"/>
                  <a:pt x="125" y="184"/>
                </a:cubicBezTo>
                <a:cubicBezTo>
                  <a:pt x="130" y="188"/>
                  <a:pt x="148" y="196"/>
                  <a:pt x="152" y="197"/>
                </a:cubicBezTo>
                <a:cubicBezTo>
                  <a:pt x="155" y="198"/>
                  <a:pt x="155" y="195"/>
                  <a:pt x="160" y="197"/>
                </a:cubicBezTo>
                <a:cubicBezTo>
                  <a:pt x="165" y="199"/>
                  <a:pt x="178" y="203"/>
                  <a:pt x="178" y="206"/>
                </a:cubicBezTo>
                <a:cubicBezTo>
                  <a:pt x="179" y="209"/>
                  <a:pt x="181" y="218"/>
                  <a:pt x="182" y="218"/>
                </a:cubicBezTo>
                <a:cubicBezTo>
                  <a:pt x="184" y="219"/>
                  <a:pt x="189" y="220"/>
                  <a:pt x="190" y="223"/>
                </a:cubicBezTo>
                <a:cubicBezTo>
                  <a:pt x="190" y="226"/>
                  <a:pt x="191" y="243"/>
                  <a:pt x="185" y="251"/>
                </a:cubicBezTo>
                <a:cubicBezTo>
                  <a:pt x="179" y="258"/>
                  <a:pt x="175" y="264"/>
                  <a:pt x="167" y="268"/>
                </a:cubicBezTo>
                <a:cubicBezTo>
                  <a:pt x="159" y="272"/>
                  <a:pt x="156" y="273"/>
                  <a:pt x="150" y="273"/>
                </a:cubicBezTo>
                <a:cubicBezTo>
                  <a:pt x="145" y="273"/>
                  <a:pt x="141" y="271"/>
                  <a:pt x="136" y="271"/>
                </a:cubicBezTo>
                <a:cubicBezTo>
                  <a:pt x="131" y="271"/>
                  <a:pt x="118" y="271"/>
                  <a:pt x="114" y="271"/>
                </a:cubicBezTo>
                <a:cubicBezTo>
                  <a:pt x="109" y="270"/>
                  <a:pt x="106" y="266"/>
                  <a:pt x="104" y="265"/>
                </a:cubicBezTo>
                <a:cubicBezTo>
                  <a:pt x="101" y="265"/>
                  <a:pt x="99" y="270"/>
                  <a:pt x="96" y="268"/>
                </a:cubicBezTo>
                <a:cubicBezTo>
                  <a:pt x="93" y="266"/>
                  <a:pt x="88" y="264"/>
                  <a:pt x="87" y="264"/>
                </a:cubicBezTo>
                <a:cubicBezTo>
                  <a:pt x="86" y="264"/>
                  <a:pt x="80" y="264"/>
                  <a:pt x="77" y="261"/>
                </a:cubicBezTo>
                <a:cubicBezTo>
                  <a:pt x="74" y="258"/>
                  <a:pt x="70" y="253"/>
                  <a:pt x="67" y="252"/>
                </a:cubicBezTo>
                <a:cubicBezTo>
                  <a:pt x="64" y="251"/>
                  <a:pt x="59" y="252"/>
                  <a:pt x="58" y="254"/>
                </a:cubicBezTo>
                <a:cubicBezTo>
                  <a:pt x="57" y="256"/>
                  <a:pt x="56" y="257"/>
                  <a:pt x="58" y="257"/>
                </a:cubicBezTo>
                <a:cubicBezTo>
                  <a:pt x="60" y="257"/>
                  <a:pt x="64" y="256"/>
                  <a:pt x="64" y="259"/>
                </a:cubicBezTo>
                <a:cubicBezTo>
                  <a:pt x="65" y="261"/>
                  <a:pt x="64" y="262"/>
                  <a:pt x="67" y="264"/>
                </a:cubicBezTo>
                <a:cubicBezTo>
                  <a:pt x="70" y="266"/>
                  <a:pt x="80" y="271"/>
                  <a:pt x="83" y="274"/>
                </a:cubicBezTo>
                <a:cubicBezTo>
                  <a:pt x="86" y="276"/>
                  <a:pt x="108" y="289"/>
                  <a:pt x="109" y="293"/>
                </a:cubicBezTo>
                <a:cubicBezTo>
                  <a:pt x="110" y="297"/>
                  <a:pt x="110" y="299"/>
                  <a:pt x="109" y="301"/>
                </a:cubicBezTo>
                <a:cubicBezTo>
                  <a:pt x="109" y="304"/>
                  <a:pt x="105" y="308"/>
                  <a:pt x="105" y="310"/>
                </a:cubicBezTo>
                <a:cubicBezTo>
                  <a:pt x="105" y="312"/>
                  <a:pt x="104" y="311"/>
                  <a:pt x="108" y="316"/>
                </a:cubicBezTo>
                <a:cubicBezTo>
                  <a:pt x="112" y="320"/>
                  <a:pt x="118" y="327"/>
                  <a:pt x="118" y="329"/>
                </a:cubicBezTo>
                <a:cubicBezTo>
                  <a:pt x="118" y="331"/>
                  <a:pt x="117" y="335"/>
                  <a:pt x="117" y="335"/>
                </a:cubicBezTo>
                <a:cubicBezTo>
                  <a:pt x="117" y="335"/>
                  <a:pt x="117" y="339"/>
                  <a:pt x="119" y="341"/>
                </a:cubicBezTo>
                <a:cubicBezTo>
                  <a:pt x="121" y="343"/>
                  <a:pt x="124" y="345"/>
                  <a:pt x="127" y="345"/>
                </a:cubicBezTo>
                <a:cubicBezTo>
                  <a:pt x="131" y="346"/>
                  <a:pt x="132" y="343"/>
                  <a:pt x="134" y="343"/>
                </a:cubicBezTo>
                <a:cubicBezTo>
                  <a:pt x="136" y="344"/>
                  <a:pt x="143" y="348"/>
                  <a:pt x="144" y="350"/>
                </a:cubicBezTo>
                <a:cubicBezTo>
                  <a:pt x="145" y="352"/>
                  <a:pt x="144" y="355"/>
                  <a:pt x="149" y="355"/>
                </a:cubicBezTo>
                <a:cubicBezTo>
                  <a:pt x="153" y="355"/>
                  <a:pt x="161" y="355"/>
                  <a:pt x="165" y="358"/>
                </a:cubicBezTo>
                <a:cubicBezTo>
                  <a:pt x="167" y="359"/>
                  <a:pt x="177" y="350"/>
                  <a:pt x="176" y="347"/>
                </a:cubicBezTo>
                <a:cubicBezTo>
                  <a:pt x="175" y="344"/>
                  <a:pt x="170" y="341"/>
                  <a:pt x="171" y="339"/>
                </a:cubicBezTo>
                <a:cubicBezTo>
                  <a:pt x="172" y="337"/>
                  <a:pt x="172" y="335"/>
                  <a:pt x="172" y="334"/>
                </a:cubicBezTo>
                <a:cubicBezTo>
                  <a:pt x="171" y="334"/>
                  <a:pt x="165" y="333"/>
                  <a:pt x="162" y="334"/>
                </a:cubicBezTo>
                <a:cubicBezTo>
                  <a:pt x="160" y="335"/>
                  <a:pt x="163" y="338"/>
                  <a:pt x="159" y="337"/>
                </a:cubicBezTo>
                <a:cubicBezTo>
                  <a:pt x="155" y="337"/>
                  <a:pt x="142" y="325"/>
                  <a:pt x="142" y="323"/>
                </a:cubicBezTo>
                <a:cubicBezTo>
                  <a:pt x="141" y="320"/>
                  <a:pt x="146" y="319"/>
                  <a:pt x="146" y="318"/>
                </a:cubicBezTo>
                <a:cubicBezTo>
                  <a:pt x="146" y="318"/>
                  <a:pt x="143" y="312"/>
                  <a:pt x="145" y="310"/>
                </a:cubicBezTo>
                <a:cubicBezTo>
                  <a:pt x="147" y="308"/>
                  <a:pt x="147" y="308"/>
                  <a:pt x="149" y="309"/>
                </a:cubicBezTo>
                <a:cubicBezTo>
                  <a:pt x="151" y="309"/>
                  <a:pt x="156" y="311"/>
                  <a:pt x="158" y="311"/>
                </a:cubicBezTo>
                <a:cubicBezTo>
                  <a:pt x="160" y="311"/>
                  <a:pt x="160" y="315"/>
                  <a:pt x="163" y="315"/>
                </a:cubicBezTo>
                <a:cubicBezTo>
                  <a:pt x="165" y="316"/>
                  <a:pt x="178" y="316"/>
                  <a:pt x="180" y="317"/>
                </a:cubicBezTo>
                <a:cubicBezTo>
                  <a:pt x="183" y="317"/>
                  <a:pt x="189" y="322"/>
                  <a:pt x="192" y="321"/>
                </a:cubicBezTo>
                <a:cubicBezTo>
                  <a:pt x="196" y="320"/>
                  <a:pt x="195" y="314"/>
                  <a:pt x="198" y="312"/>
                </a:cubicBezTo>
                <a:cubicBezTo>
                  <a:pt x="200" y="310"/>
                  <a:pt x="205" y="311"/>
                  <a:pt x="203" y="308"/>
                </a:cubicBezTo>
                <a:cubicBezTo>
                  <a:pt x="201" y="304"/>
                  <a:pt x="188" y="297"/>
                  <a:pt x="186" y="292"/>
                </a:cubicBezTo>
                <a:cubicBezTo>
                  <a:pt x="185" y="287"/>
                  <a:pt x="184" y="283"/>
                  <a:pt x="188" y="280"/>
                </a:cubicBezTo>
                <a:cubicBezTo>
                  <a:pt x="191" y="277"/>
                  <a:pt x="193" y="266"/>
                  <a:pt x="195" y="265"/>
                </a:cubicBezTo>
                <a:cubicBezTo>
                  <a:pt x="197" y="264"/>
                  <a:pt x="204" y="259"/>
                  <a:pt x="205" y="255"/>
                </a:cubicBezTo>
                <a:cubicBezTo>
                  <a:pt x="206" y="251"/>
                  <a:pt x="206" y="241"/>
                  <a:pt x="209" y="240"/>
                </a:cubicBezTo>
                <a:cubicBezTo>
                  <a:pt x="212" y="240"/>
                  <a:pt x="213" y="244"/>
                  <a:pt x="217" y="242"/>
                </a:cubicBezTo>
                <a:cubicBezTo>
                  <a:pt x="222" y="240"/>
                  <a:pt x="223" y="238"/>
                  <a:pt x="226" y="239"/>
                </a:cubicBezTo>
                <a:cubicBezTo>
                  <a:pt x="228" y="241"/>
                  <a:pt x="238" y="247"/>
                  <a:pt x="240" y="246"/>
                </a:cubicBezTo>
                <a:cubicBezTo>
                  <a:pt x="242" y="245"/>
                  <a:pt x="241" y="243"/>
                  <a:pt x="240" y="240"/>
                </a:cubicBezTo>
                <a:cubicBezTo>
                  <a:pt x="238" y="236"/>
                  <a:pt x="238" y="233"/>
                  <a:pt x="238" y="230"/>
                </a:cubicBezTo>
                <a:cubicBezTo>
                  <a:pt x="239" y="226"/>
                  <a:pt x="239" y="221"/>
                  <a:pt x="235" y="217"/>
                </a:cubicBezTo>
                <a:cubicBezTo>
                  <a:pt x="231" y="213"/>
                  <a:pt x="230" y="209"/>
                  <a:pt x="226" y="210"/>
                </a:cubicBezTo>
                <a:cubicBezTo>
                  <a:pt x="223" y="211"/>
                  <a:pt x="220" y="211"/>
                  <a:pt x="219" y="208"/>
                </a:cubicBezTo>
                <a:cubicBezTo>
                  <a:pt x="219" y="205"/>
                  <a:pt x="220" y="188"/>
                  <a:pt x="217" y="182"/>
                </a:cubicBezTo>
                <a:cubicBezTo>
                  <a:pt x="214" y="177"/>
                  <a:pt x="212" y="170"/>
                  <a:pt x="208" y="168"/>
                </a:cubicBezTo>
                <a:cubicBezTo>
                  <a:pt x="205" y="167"/>
                  <a:pt x="193" y="166"/>
                  <a:pt x="193" y="161"/>
                </a:cubicBezTo>
                <a:cubicBezTo>
                  <a:pt x="193" y="158"/>
                  <a:pt x="193" y="158"/>
                  <a:pt x="196" y="158"/>
                </a:cubicBezTo>
                <a:cubicBezTo>
                  <a:pt x="198" y="158"/>
                  <a:pt x="205" y="161"/>
                  <a:pt x="206" y="160"/>
                </a:cubicBezTo>
                <a:cubicBezTo>
                  <a:pt x="208" y="159"/>
                  <a:pt x="220" y="154"/>
                  <a:pt x="224" y="154"/>
                </a:cubicBezTo>
                <a:cubicBezTo>
                  <a:pt x="227" y="154"/>
                  <a:pt x="232" y="155"/>
                  <a:pt x="234" y="156"/>
                </a:cubicBezTo>
                <a:cubicBezTo>
                  <a:pt x="236" y="158"/>
                  <a:pt x="245" y="165"/>
                  <a:pt x="247" y="167"/>
                </a:cubicBezTo>
                <a:cubicBezTo>
                  <a:pt x="249" y="169"/>
                  <a:pt x="253" y="173"/>
                  <a:pt x="250" y="174"/>
                </a:cubicBezTo>
                <a:cubicBezTo>
                  <a:pt x="248" y="175"/>
                  <a:pt x="236" y="181"/>
                  <a:pt x="236" y="183"/>
                </a:cubicBezTo>
                <a:cubicBezTo>
                  <a:pt x="235" y="185"/>
                  <a:pt x="233" y="196"/>
                  <a:pt x="234" y="198"/>
                </a:cubicBezTo>
                <a:cubicBezTo>
                  <a:pt x="236" y="199"/>
                  <a:pt x="245" y="199"/>
                  <a:pt x="246" y="201"/>
                </a:cubicBezTo>
                <a:cubicBezTo>
                  <a:pt x="248" y="202"/>
                  <a:pt x="253" y="209"/>
                  <a:pt x="256" y="209"/>
                </a:cubicBezTo>
                <a:cubicBezTo>
                  <a:pt x="260" y="208"/>
                  <a:pt x="273" y="201"/>
                  <a:pt x="276" y="199"/>
                </a:cubicBezTo>
                <a:cubicBezTo>
                  <a:pt x="277" y="197"/>
                  <a:pt x="278" y="194"/>
                  <a:pt x="274" y="191"/>
                </a:cubicBezTo>
                <a:cubicBezTo>
                  <a:pt x="270" y="189"/>
                  <a:pt x="270" y="179"/>
                  <a:pt x="270" y="175"/>
                </a:cubicBezTo>
                <a:cubicBezTo>
                  <a:pt x="269" y="172"/>
                  <a:pt x="278" y="168"/>
                  <a:pt x="277" y="166"/>
                </a:cubicBezTo>
                <a:cubicBezTo>
                  <a:pt x="277" y="163"/>
                  <a:pt x="274" y="161"/>
                  <a:pt x="275" y="159"/>
                </a:cubicBezTo>
                <a:cubicBezTo>
                  <a:pt x="277" y="157"/>
                  <a:pt x="280" y="159"/>
                  <a:pt x="281" y="157"/>
                </a:cubicBezTo>
                <a:cubicBezTo>
                  <a:pt x="283" y="156"/>
                  <a:pt x="291" y="130"/>
                  <a:pt x="294" y="127"/>
                </a:cubicBezTo>
                <a:cubicBezTo>
                  <a:pt x="297" y="123"/>
                  <a:pt x="303" y="121"/>
                  <a:pt x="306" y="116"/>
                </a:cubicBezTo>
                <a:cubicBezTo>
                  <a:pt x="308" y="111"/>
                  <a:pt x="319" y="90"/>
                  <a:pt x="325" y="87"/>
                </a:cubicBezTo>
                <a:cubicBezTo>
                  <a:pt x="332" y="84"/>
                  <a:pt x="336" y="85"/>
                  <a:pt x="332" y="88"/>
                </a:cubicBezTo>
                <a:cubicBezTo>
                  <a:pt x="328" y="91"/>
                  <a:pt x="324" y="93"/>
                  <a:pt x="324" y="96"/>
                </a:cubicBezTo>
                <a:cubicBezTo>
                  <a:pt x="324" y="100"/>
                  <a:pt x="323" y="103"/>
                  <a:pt x="326" y="105"/>
                </a:cubicBezTo>
                <a:cubicBezTo>
                  <a:pt x="328" y="107"/>
                  <a:pt x="332" y="113"/>
                  <a:pt x="329" y="114"/>
                </a:cubicBezTo>
                <a:cubicBezTo>
                  <a:pt x="326" y="115"/>
                  <a:pt x="323" y="118"/>
                  <a:pt x="324" y="120"/>
                </a:cubicBezTo>
                <a:cubicBezTo>
                  <a:pt x="326" y="121"/>
                  <a:pt x="331" y="120"/>
                  <a:pt x="333" y="118"/>
                </a:cubicBezTo>
                <a:cubicBezTo>
                  <a:pt x="335" y="117"/>
                  <a:pt x="336" y="111"/>
                  <a:pt x="339" y="112"/>
                </a:cubicBezTo>
                <a:cubicBezTo>
                  <a:pt x="341" y="113"/>
                  <a:pt x="346" y="114"/>
                  <a:pt x="346" y="113"/>
                </a:cubicBezTo>
                <a:cubicBezTo>
                  <a:pt x="347" y="112"/>
                  <a:pt x="341" y="107"/>
                  <a:pt x="343" y="102"/>
                </a:cubicBezTo>
                <a:cubicBezTo>
                  <a:pt x="344" y="97"/>
                  <a:pt x="347" y="91"/>
                  <a:pt x="350" y="89"/>
                </a:cubicBezTo>
                <a:cubicBezTo>
                  <a:pt x="352" y="88"/>
                  <a:pt x="355" y="89"/>
                  <a:pt x="357" y="88"/>
                </a:cubicBezTo>
                <a:cubicBezTo>
                  <a:pt x="358" y="88"/>
                  <a:pt x="361" y="87"/>
                  <a:pt x="363" y="87"/>
                </a:cubicBezTo>
                <a:cubicBezTo>
                  <a:pt x="364" y="86"/>
                  <a:pt x="366" y="86"/>
                  <a:pt x="366" y="86"/>
                </a:cubicBezTo>
                <a:cubicBezTo>
                  <a:pt x="368" y="85"/>
                  <a:pt x="368" y="77"/>
                  <a:pt x="368" y="75"/>
                </a:cubicBezTo>
                <a:cubicBezTo>
                  <a:pt x="368" y="72"/>
                  <a:pt x="370" y="66"/>
                  <a:pt x="372" y="64"/>
                </a:cubicBezTo>
                <a:cubicBezTo>
                  <a:pt x="374" y="62"/>
                  <a:pt x="382" y="61"/>
                  <a:pt x="383" y="62"/>
                </a:cubicBezTo>
                <a:cubicBezTo>
                  <a:pt x="384" y="64"/>
                  <a:pt x="387" y="76"/>
                  <a:pt x="390" y="76"/>
                </a:cubicBezTo>
                <a:cubicBezTo>
                  <a:pt x="392" y="76"/>
                  <a:pt x="399" y="74"/>
                  <a:pt x="399" y="70"/>
                </a:cubicBezTo>
                <a:cubicBezTo>
                  <a:pt x="398" y="66"/>
                  <a:pt x="396" y="61"/>
                  <a:pt x="397" y="59"/>
                </a:cubicBezTo>
                <a:cubicBezTo>
                  <a:pt x="398" y="55"/>
                  <a:pt x="405" y="52"/>
                  <a:pt x="399" y="46"/>
                </a:cubicBezTo>
                <a:cubicBezTo>
                  <a:pt x="395" y="41"/>
                  <a:pt x="390" y="35"/>
                  <a:pt x="382" y="32"/>
                </a:cubicBezTo>
                <a:cubicBezTo>
                  <a:pt x="380" y="31"/>
                  <a:pt x="381" y="14"/>
                  <a:pt x="382" y="14"/>
                </a:cubicBezTo>
                <a:cubicBezTo>
                  <a:pt x="388" y="14"/>
                  <a:pt x="400" y="8"/>
                  <a:pt x="407" y="6"/>
                </a:cubicBezTo>
                <a:cubicBezTo>
                  <a:pt x="415" y="4"/>
                  <a:pt x="425" y="3"/>
                  <a:pt x="439" y="3"/>
                </a:cubicBezTo>
                <a:cubicBezTo>
                  <a:pt x="452" y="3"/>
                  <a:pt x="468" y="1"/>
                  <a:pt x="472" y="0"/>
                </a:cubicBezTo>
                <a:cubicBezTo>
                  <a:pt x="475" y="0"/>
                  <a:pt x="472" y="6"/>
                  <a:pt x="477" y="6"/>
                </a:cubicBezTo>
                <a:cubicBezTo>
                  <a:pt x="483" y="6"/>
                  <a:pt x="488" y="6"/>
                  <a:pt x="488" y="6"/>
                </a:cubicBezTo>
                <a:cubicBezTo>
                  <a:pt x="488" y="6"/>
                  <a:pt x="497" y="14"/>
                  <a:pt x="499" y="11"/>
                </a:cubicBezTo>
                <a:cubicBezTo>
                  <a:pt x="503" y="17"/>
                  <a:pt x="506" y="23"/>
                  <a:pt x="507" y="27"/>
                </a:cubicBezTo>
                <a:cubicBezTo>
                  <a:pt x="510" y="43"/>
                  <a:pt x="514" y="69"/>
                  <a:pt x="512" y="82"/>
                </a:cubicBezTo>
                <a:cubicBezTo>
                  <a:pt x="510" y="95"/>
                  <a:pt x="489" y="159"/>
                  <a:pt x="488" y="175"/>
                </a:cubicBezTo>
                <a:cubicBezTo>
                  <a:pt x="487" y="191"/>
                  <a:pt x="499" y="224"/>
                  <a:pt x="517" y="252"/>
                </a:cubicBezTo>
                <a:cubicBezTo>
                  <a:pt x="535" y="280"/>
                  <a:pt x="549" y="350"/>
                  <a:pt x="552" y="360"/>
                </a:cubicBezTo>
                <a:cubicBezTo>
                  <a:pt x="555" y="370"/>
                  <a:pt x="577" y="404"/>
                  <a:pt x="594" y="414"/>
                </a:cubicBezTo>
                <a:cubicBezTo>
                  <a:pt x="611" y="424"/>
                  <a:pt x="632" y="435"/>
                  <a:pt x="644" y="453"/>
                </a:cubicBezTo>
                <a:cubicBezTo>
                  <a:pt x="656" y="471"/>
                  <a:pt x="661" y="521"/>
                  <a:pt x="667" y="528"/>
                </a:cubicBezTo>
                <a:cubicBezTo>
                  <a:pt x="673" y="535"/>
                  <a:pt x="676" y="560"/>
                  <a:pt x="676" y="570"/>
                </a:cubicBezTo>
                <a:cubicBezTo>
                  <a:pt x="676" y="580"/>
                  <a:pt x="688" y="588"/>
                  <a:pt x="694" y="591"/>
                </a:cubicBezTo>
                <a:cubicBezTo>
                  <a:pt x="700" y="594"/>
                  <a:pt x="701" y="602"/>
                  <a:pt x="696" y="608"/>
                </a:cubicBezTo>
                <a:cubicBezTo>
                  <a:pt x="691" y="614"/>
                  <a:pt x="695" y="616"/>
                  <a:pt x="701" y="631"/>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31" name="Freeform 127"/>
          <p:cNvSpPr>
            <a:spLocks/>
          </p:cNvSpPr>
          <p:nvPr>
            <p:custDataLst>
              <p:tags r:id="rId10"/>
            </p:custDataLst>
          </p:nvPr>
        </p:nvSpPr>
        <p:spPr bwMode="gray">
          <a:xfrm>
            <a:off x="5367017" y="1033862"/>
            <a:ext cx="100591" cy="81547"/>
          </a:xfrm>
          <a:custGeom>
            <a:avLst/>
            <a:gdLst>
              <a:gd name="T0" fmla="*/ 25 w 27"/>
              <a:gd name="T1" fmla="*/ 5 h 30"/>
              <a:gd name="T2" fmla="*/ 23 w 27"/>
              <a:gd name="T3" fmla="*/ 19 h 30"/>
              <a:gd name="T4" fmla="*/ 19 w 27"/>
              <a:gd name="T5" fmla="*/ 28 h 30"/>
              <a:gd name="T6" fmla="*/ 11 w 27"/>
              <a:gd name="T7" fmla="*/ 29 h 30"/>
              <a:gd name="T8" fmla="*/ 0 w 27"/>
              <a:gd name="T9" fmla="*/ 12 h 30"/>
              <a:gd name="T10" fmla="*/ 7 w 27"/>
              <a:gd name="T11" fmla="*/ 0 h 30"/>
              <a:gd name="T12" fmla="*/ 25 w 27"/>
              <a:gd name="T13" fmla="*/ 5 h 30"/>
            </a:gdLst>
            <a:ahLst/>
            <a:cxnLst>
              <a:cxn ang="0">
                <a:pos x="T0" y="T1"/>
              </a:cxn>
              <a:cxn ang="0">
                <a:pos x="T2" y="T3"/>
              </a:cxn>
              <a:cxn ang="0">
                <a:pos x="T4" y="T5"/>
              </a:cxn>
              <a:cxn ang="0">
                <a:pos x="T6" y="T7"/>
              </a:cxn>
              <a:cxn ang="0">
                <a:pos x="T8" y="T9"/>
              </a:cxn>
              <a:cxn ang="0">
                <a:pos x="T10" y="T11"/>
              </a:cxn>
              <a:cxn ang="0">
                <a:pos x="T12" y="T13"/>
              </a:cxn>
            </a:cxnLst>
            <a:rect l="0" t="0" r="r" b="b"/>
            <a:pathLst>
              <a:path w="27" h="30">
                <a:moveTo>
                  <a:pt x="25" y="5"/>
                </a:moveTo>
                <a:cubicBezTo>
                  <a:pt x="27" y="10"/>
                  <a:pt x="25" y="16"/>
                  <a:pt x="23" y="19"/>
                </a:cubicBezTo>
                <a:cubicBezTo>
                  <a:pt x="22" y="23"/>
                  <a:pt x="23" y="27"/>
                  <a:pt x="19" y="28"/>
                </a:cubicBezTo>
                <a:cubicBezTo>
                  <a:pt x="15" y="30"/>
                  <a:pt x="15" y="30"/>
                  <a:pt x="11" y="29"/>
                </a:cubicBezTo>
                <a:cubicBezTo>
                  <a:pt x="7" y="29"/>
                  <a:pt x="0" y="17"/>
                  <a:pt x="0" y="12"/>
                </a:cubicBezTo>
                <a:cubicBezTo>
                  <a:pt x="0" y="7"/>
                  <a:pt x="1" y="0"/>
                  <a:pt x="7" y="0"/>
                </a:cubicBezTo>
                <a:cubicBezTo>
                  <a:pt x="13" y="0"/>
                  <a:pt x="24" y="0"/>
                  <a:pt x="25" y="5"/>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32" name="Freeform 128"/>
          <p:cNvSpPr>
            <a:spLocks/>
          </p:cNvSpPr>
          <p:nvPr>
            <p:custDataLst>
              <p:tags r:id="rId11"/>
            </p:custDataLst>
          </p:nvPr>
        </p:nvSpPr>
        <p:spPr bwMode="gray">
          <a:xfrm>
            <a:off x="4301243" y="2533615"/>
            <a:ext cx="773585" cy="478645"/>
          </a:xfrm>
          <a:custGeom>
            <a:avLst/>
            <a:gdLst>
              <a:gd name="T0" fmla="*/ 188 w 214"/>
              <a:gd name="T1" fmla="*/ 70 h 179"/>
              <a:gd name="T2" fmla="*/ 213 w 214"/>
              <a:gd name="T3" fmla="*/ 87 h 179"/>
              <a:gd name="T4" fmla="*/ 201 w 214"/>
              <a:gd name="T5" fmla="*/ 102 h 179"/>
              <a:gd name="T6" fmla="*/ 186 w 214"/>
              <a:gd name="T7" fmla="*/ 98 h 179"/>
              <a:gd name="T8" fmla="*/ 181 w 214"/>
              <a:gd name="T9" fmla="*/ 109 h 179"/>
              <a:gd name="T10" fmla="*/ 191 w 214"/>
              <a:gd name="T11" fmla="*/ 126 h 179"/>
              <a:gd name="T12" fmla="*/ 196 w 214"/>
              <a:gd name="T13" fmla="*/ 140 h 179"/>
              <a:gd name="T14" fmla="*/ 196 w 214"/>
              <a:gd name="T15" fmla="*/ 140 h 179"/>
              <a:gd name="T16" fmla="*/ 187 w 214"/>
              <a:gd name="T17" fmla="*/ 141 h 179"/>
              <a:gd name="T18" fmla="*/ 176 w 214"/>
              <a:gd name="T19" fmla="*/ 155 h 179"/>
              <a:gd name="T20" fmla="*/ 180 w 214"/>
              <a:gd name="T21" fmla="*/ 170 h 179"/>
              <a:gd name="T22" fmla="*/ 172 w 214"/>
              <a:gd name="T23" fmla="*/ 177 h 179"/>
              <a:gd name="T24" fmla="*/ 162 w 214"/>
              <a:gd name="T25" fmla="*/ 170 h 179"/>
              <a:gd name="T26" fmla="*/ 142 w 214"/>
              <a:gd name="T27" fmla="*/ 167 h 179"/>
              <a:gd name="T28" fmla="*/ 128 w 214"/>
              <a:gd name="T29" fmla="*/ 171 h 179"/>
              <a:gd name="T30" fmla="*/ 98 w 214"/>
              <a:gd name="T31" fmla="*/ 168 h 179"/>
              <a:gd name="T32" fmla="*/ 67 w 214"/>
              <a:gd name="T33" fmla="*/ 163 h 179"/>
              <a:gd name="T34" fmla="*/ 37 w 214"/>
              <a:gd name="T35" fmla="*/ 163 h 179"/>
              <a:gd name="T36" fmla="*/ 24 w 214"/>
              <a:gd name="T37" fmla="*/ 176 h 179"/>
              <a:gd name="T38" fmla="*/ 14 w 214"/>
              <a:gd name="T39" fmla="*/ 176 h 179"/>
              <a:gd name="T40" fmla="*/ 14 w 214"/>
              <a:gd name="T41" fmla="*/ 164 h 179"/>
              <a:gd name="T42" fmla="*/ 4 w 214"/>
              <a:gd name="T43" fmla="*/ 154 h 179"/>
              <a:gd name="T44" fmla="*/ 8 w 214"/>
              <a:gd name="T45" fmla="*/ 142 h 179"/>
              <a:gd name="T46" fmla="*/ 20 w 214"/>
              <a:gd name="T47" fmla="*/ 137 h 179"/>
              <a:gd name="T48" fmla="*/ 17 w 214"/>
              <a:gd name="T49" fmla="*/ 118 h 179"/>
              <a:gd name="T50" fmla="*/ 8 w 214"/>
              <a:gd name="T51" fmla="*/ 93 h 179"/>
              <a:gd name="T52" fmla="*/ 27 w 214"/>
              <a:gd name="T53" fmla="*/ 93 h 179"/>
              <a:gd name="T54" fmla="*/ 44 w 214"/>
              <a:gd name="T55" fmla="*/ 80 h 179"/>
              <a:gd name="T56" fmla="*/ 57 w 214"/>
              <a:gd name="T57" fmla="*/ 58 h 179"/>
              <a:gd name="T58" fmla="*/ 67 w 214"/>
              <a:gd name="T59" fmla="*/ 45 h 179"/>
              <a:gd name="T60" fmla="*/ 74 w 214"/>
              <a:gd name="T61" fmla="*/ 34 h 179"/>
              <a:gd name="T62" fmla="*/ 72 w 214"/>
              <a:gd name="T63" fmla="*/ 22 h 179"/>
              <a:gd name="T64" fmla="*/ 92 w 214"/>
              <a:gd name="T65" fmla="*/ 10 h 179"/>
              <a:gd name="T66" fmla="*/ 100 w 214"/>
              <a:gd name="T67" fmla="*/ 0 h 179"/>
              <a:gd name="T68" fmla="*/ 112 w 214"/>
              <a:gd name="T69" fmla="*/ 4 h 179"/>
              <a:gd name="T70" fmla="*/ 140 w 214"/>
              <a:gd name="T71" fmla="*/ 9 h 179"/>
              <a:gd name="T72" fmla="*/ 157 w 214"/>
              <a:gd name="T73" fmla="*/ 17 h 179"/>
              <a:gd name="T74" fmla="*/ 163 w 214"/>
              <a:gd name="T75" fmla="*/ 44 h 179"/>
              <a:gd name="T76" fmla="*/ 188 w 214"/>
              <a:gd name="T77" fmla="*/ 7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4" h="179">
                <a:moveTo>
                  <a:pt x="188" y="70"/>
                </a:moveTo>
                <a:cubicBezTo>
                  <a:pt x="195" y="78"/>
                  <a:pt x="214" y="83"/>
                  <a:pt x="213" y="87"/>
                </a:cubicBezTo>
                <a:cubicBezTo>
                  <a:pt x="211" y="91"/>
                  <a:pt x="204" y="100"/>
                  <a:pt x="201" y="102"/>
                </a:cubicBezTo>
                <a:cubicBezTo>
                  <a:pt x="197" y="104"/>
                  <a:pt x="190" y="98"/>
                  <a:pt x="186" y="98"/>
                </a:cubicBezTo>
                <a:cubicBezTo>
                  <a:pt x="181" y="98"/>
                  <a:pt x="181" y="109"/>
                  <a:pt x="181" y="109"/>
                </a:cubicBezTo>
                <a:cubicBezTo>
                  <a:pt x="181" y="109"/>
                  <a:pt x="188" y="121"/>
                  <a:pt x="191" y="126"/>
                </a:cubicBezTo>
                <a:cubicBezTo>
                  <a:pt x="196" y="140"/>
                  <a:pt x="196" y="140"/>
                  <a:pt x="196" y="140"/>
                </a:cubicBezTo>
                <a:cubicBezTo>
                  <a:pt x="196" y="140"/>
                  <a:pt x="196" y="140"/>
                  <a:pt x="196" y="140"/>
                </a:cubicBezTo>
                <a:cubicBezTo>
                  <a:pt x="193" y="141"/>
                  <a:pt x="190" y="141"/>
                  <a:pt x="187" y="141"/>
                </a:cubicBezTo>
                <a:cubicBezTo>
                  <a:pt x="182" y="142"/>
                  <a:pt x="176" y="150"/>
                  <a:pt x="176" y="155"/>
                </a:cubicBezTo>
                <a:cubicBezTo>
                  <a:pt x="174" y="159"/>
                  <a:pt x="180" y="170"/>
                  <a:pt x="180" y="170"/>
                </a:cubicBezTo>
                <a:cubicBezTo>
                  <a:pt x="180" y="170"/>
                  <a:pt x="173" y="179"/>
                  <a:pt x="172" y="177"/>
                </a:cubicBezTo>
                <a:cubicBezTo>
                  <a:pt x="170" y="175"/>
                  <a:pt x="165" y="173"/>
                  <a:pt x="162" y="170"/>
                </a:cubicBezTo>
                <a:cubicBezTo>
                  <a:pt x="158" y="167"/>
                  <a:pt x="146" y="167"/>
                  <a:pt x="142" y="167"/>
                </a:cubicBezTo>
                <a:cubicBezTo>
                  <a:pt x="138" y="167"/>
                  <a:pt x="133" y="171"/>
                  <a:pt x="128" y="171"/>
                </a:cubicBezTo>
                <a:cubicBezTo>
                  <a:pt x="124" y="172"/>
                  <a:pt x="104" y="170"/>
                  <a:pt x="98" y="168"/>
                </a:cubicBezTo>
                <a:cubicBezTo>
                  <a:pt x="91" y="166"/>
                  <a:pt x="73" y="163"/>
                  <a:pt x="67" y="163"/>
                </a:cubicBezTo>
                <a:cubicBezTo>
                  <a:pt x="62" y="162"/>
                  <a:pt x="42" y="163"/>
                  <a:pt x="37" y="163"/>
                </a:cubicBezTo>
                <a:cubicBezTo>
                  <a:pt x="32" y="163"/>
                  <a:pt x="28" y="176"/>
                  <a:pt x="24" y="176"/>
                </a:cubicBezTo>
                <a:cubicBezTo>
                  <a:pt x="20" y="176"/>
                  <a:pt x="14" y="176"/>
                  <a:pt x="14" y="176"/>
                </a:cubicBezTo>
                <a:cubicBezTo>
                  <a:pt x="14" y="170"/>
                  <a:pt x="14" y="164"/>
                  <a:pt x="14" y="164"/>
                </a:cubicBezTo>
                <a:cubicBezTo>
                  <a:pt x="14" y="164"/>
                  <a:pt x="9" y="156"/>
                  <a:pt x="4" y="154"/>
                </a:cubicBezTo>
                <a:cubicBezTo>
                  <a:pt x="0" y="152"/>
                  <a:pt x="2" y="146"/>
                  <a:pt x="8" y="142"/>
                </a:cubicBezTo>
                <a:cubicBezTo>
                  <a:pt x="12" y="139"/>
                  <a:pt x="19" y="139"/>
                  <a:pt x="20" y="137"/>
                </a:cubicBezTo>
                <a:cubicBezTo>
                  <a:pt x="21" y="134"/>
                  <a:pt x="20" y="124"/>
                  <a:pt x="17" y="118"/>
                </a:cubicBezTo>
                <a:cubicBezTo>
                  <a:pt x="14" y="111"/>
                  <a:pt x="8" y="98"/>
                  <a:pt x="8" y="93"/>
                </a:cubicBezTo>
                <a:cubicBezTo>
                  <a:pt x="8" y="93"/>
                  <a:pt x="23" y="97"/>
                  <a:pt x="27" y="93"/>
                </a:cubicBezTo>
                <a:cubicBezTo>
                  <a:pt x="27" y="93"/>
                  <a:pt x="39" y="83"/>
                  <a:pt x="44" y="80"/>
                </a:cubicBezTo>
                <a:cubicBezTo>
                  <a:pt x="50" y="77"/>
                  <a:pt x="56" y="62"/>
                  <a:pt x="57" y="58"/>
                </a:cubicBezTo>
                <a:cubicBezTo>
                  <a:pt x="58" y="54"/>
                  <a:pt x="62" y="46"/>
                  <a:pt x="67" y="45"/>
                </a:cubicBezTo>
                <a:cubicBezTo>
                  <a:pt x="72" y="43"/>
                  <a:pt x="74" y="34"/>
                  <a:pt x="74" y="34"/>
                </a:cubicBezTo>
                <a:cubicBezTo>
                  <a:pt x="74" y="34"/>
                  <a:pt x="70" y="25"/>
                  <a:pt x="72" y="22"/>
                </a:cubicBezTo>
                <a:cubicBezTo>
                  <a:pt x="74" y="19"/>
                  <a:pt x="88" y="14"/>
                  <a:pt x="92" y="10"/>
                </a:cubicBezTo>
                <a:cubicBezTo>
                  <a:pt x="94" y="7"/>
                  <a:pt x="99" y="4"/>
                  <a:pt x="100" y="0"/>
                </a:cubicBezTo>
                <a:cubicBezTo>
                  <a:pt x="112" y="4"/>
                  <a:pt x="112" y="4"/>
                  <a:pt x="112" y="4"/>
                </a:cubicBezTo>
                <a:cubicBezTo>
                  <a:pt x="112" y="4"/>
                  <a:pt x="134" y="9"/>
                  <a:pt x="140" y="9"/>
                </a:cubicBezTo>
                <a:cubicBezTo>
                  <a:pt x="146" y="9"/>
                  <a:pt x="151" y="8"/>
                  <a:pt x="157" y="17"/>
                </a:cubicBezTo>
                <a:cubicBezTo>
                  <a:pt x="163" y="26"/>
                  <a:pt x="163" y="38"/>
                  <a:pt x="163" y="44"/>
                </a:cubicBezTo>
                <a:cubicBezTo>
                  <a:pt x="164" y="51"/>
                  <a:pt x="181" y="62"/>
                  <a:pt x="188" y="7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33" name="Freeform 129"/>
          <p:cNvSpPr>
            <a:spLocks/>
          </p:cNvSpPr>
          <p:nvPr>
            <p:custDataLst>
              <p:tags r:id="rId12"/>
            </p:custDataLst>
          </p:nvPr>
        </p:nvSpPr>
        <p:spPr bwMode="gray">
          <a:xfrm>
            <a:off x="4653306" y="3297673"/>
            <a:ext cx="330509" cy="285414"/>
          </a:xfrm>
          <a:custGeom>
            <a:avLst/>
            <a:gdLst>
              <a:gd name="T0" fmla="*/ 85 w 91"/>
              <a:gd name="T1" fmla="*/ 55 h 107"/>
              <a:gd name="T2" fmla="*/ 91 w 91"/>
              <a:gd name="T3" fmla="*/ 70 h 107"/>
              <a:gd name="T4" fmla="*/ 67 w 91"/>
              <a:gd name="T5" fmla="*/ 69 h 107"/>
              <a:gd name="T6" fmla="*/ 65 w 91"/>
              <a:gd name="T7" fmla="*/ 80 h 107"/>
              <a:gd name="T8" fmla="*/ 57 w 91"/>
              <a:gd name="T9" fmla="*/ 98 h 107"/>
              <a:gd name="T10" fmla="*/ 49 w 91"/>
              <a:gd name="T11" fmla="*/ 107 h 107"/>
              <a:gd name="T12" fmla="*/ 43 w 91"/>
              <a:gd name="T13" fmla="*/ 101 h 107"/>
              <a:gd name="T14" fmla="*/ 43 w 91"/>
              <a:gd name="T15" fmla="*/ 76 h 107"/>
              <a:gd name="T16" fmla="*/ 37 w 91"/>
              <a:gd name="T17" fmla="*/ 55 h 107"/>
              <a:gd name="T18" fmla="*/ 19 w 91"/>
              <a:gd name="T19" fmla="*/ 37 h 107"/>
              <a:gd name="T20" fmla="*/ 6 w 91"/>
              <a:gd name="T21" fmla="*/ 16 h 107"/>
              <a:gd name="T22" fmla="*/ 0 w 91"/>
              <a:gd name="T23" fmla="*/ 8 h 107"/>
              <a:gd name="T24" fmla="*/ 20 w 91"/>
              <a:gd name="T25" fmla="*/ 1 h 107"/>
              <a:gd name="T26" fmla="*/ 44 w 91"/>
              <a:gd name="T27" fmla="*/ 9 h 107"/>
              <a:gd name="T28" fmla="*/ 63 w 91"/>
              <a:gd name="T29" fmla="*/ 14 h 107"/>
              <a:gd name="T30" fmla="*/ 63 w 91"/>
              <a:gd name="T31" fmla="*/ 31 h 107"/>
              <a:gd name="T32" fmla="*/ 75 w 91"/>
              <a:gd name="T33" fmla="*/ 46 h 107"/>
              <a:gd name="T34" fmla="*/ 85 w 91"/>
              <a:gd name="T35" fmla="*/ 5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07">
                <a:moveTo>
                  <a:pt x="85" y="55"/>
                </a:moveTo>
                <a:cubicBezTo>
                  <a:pt x="87" y="58"/>
                  <a:pt x="91" y="67"/>
                  <a:pt x="91" y="70"/>
                </a:cubicBezTo>
                <a:cubicBezTo>
                  <a:pt x="91" y="73"/>
                  <a:pt x="70" y="69"/>
                  <a:pt x="67" y="69"/>
                </a:cubicBezTo>
                <a:cubicBezTo>
                  <a:pt x="65" y="69"/>
                  <a:pt x="67" y="75"/>
                  <a:pt x="65" y="80"/>
                </a:cubicBezTo>
                <a:cubicBezTo>
                  <a:pt x="63" y="86"/>
                  <a:pt x="60" y="95"/>
                  <a:pt x="57" y="98"/>
                </a:cubicBezTo>
                <a:cubicBezTo>
                  <a:pt x="55" y="100"/>
                  <a:pt x="50" y="103"/>
                  <a:pt x="49" y="107"/>
                </a:cubicBezTo>
                <a:cubicBezTo>
                  <a:pt x="43" y="101"/>
                  <a:pt x="43" y="101"/>
                  <a:pt x="43" y="101"/>
                </a:cubicBezTo>
                <a:cubicBezTo>
                  <a:pt x="43" y="95"/>
                  <a:pt x="41" y="83"/>
                  <a:pt x="43" y="76"/>
                </a:cubicBezTo>
                <a:cubicBezTo>
                  <a:pt x="45" y="70"/>
                  <a:pt x="39" y="59"/>
                  <a:pt x="37" y="55"/>
                </a:cubicBezTo>
                <a:cubicBezTo>
                  <a:pt x="35" y="51"/>
                  <a:pt x="21" y="42"/>
                  <a:pt x="19" y="37"/>
                </a:cubicBezTo>
                <a:cubicBezTo>
                  <a:pt x="17" y="33"/>
                  <a:pt x="6" y="16"/>
                  <a:pt x="6" y="16"/>
                </a:cubicBezTo>
                <a:cubicBezTo>
                  <a:pt x="0" y="8"/>
                  <a:pt x="0" y="8"/>
                  <a:pt x="0" y="8"/>
                </a:cubicBezTo>
                <a:cubicBezTo>
                  <a:pt x="5" y="5"/>
                  <a:pt x="14" y="0"/>
                  <a:pt x="20" y="1"/>
                </a:cubicBezTo>
                <a:cubicBezTo>
                  <a:pt x="27" y="1"/>
                  <a:pt x="38" y="9"/>
                  <a:pt x="44" y="9"/>
                </a:cubicBezTo>
                <a:cubicBezTo>
                  <a:pt x="50" y="9"/>
                  <a:pt x="59" y="8"/>
                  <a:pt x="63" y="14"/>
                </a:cubicBezTo>
                <a:cubicBezTo>
                  <a:pt x="65" y="20"/>
                  <a:pt x="61" y="29"/>
                  <a:pt x="63" y="31"/>
                </a:cubicBezTo>
                <a:cubicBezTo>
                  <a:pt x="65" y="34"/>
                  <a:pt x="71" y="44"/>
                  <a:pt x="75" y="46"/>
                </a:cubicBezTo>
                <a:cubicBezTo>
                  <a:pt x="78" y="48"/>
                  <a:pt x="83" y="53"/>
                  <a:pt x="85" y="55"/>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34" name="Freeform 130"/>
          <p:cNvSpPr>
            <a:spLocks/>
          </p:cNvSpPr>
          <p:nvPr>
            <p:custDataLst>
              <p:tags r:id="rId13"/>
            </p:custDataLst>
          </p:nvPr>
        </p:nvSpPr>
        <p:spPr bwMode="gray">
          <a:xfrm>
            <a:off x="4088087" y="3317173"/>
            <a:ext cx="890942" cy="476872"/>
          </a:xfrm>
          <a:custGeom>
            <a:avLst/>
            <a:gdLst>
              <a:gd name="T0" fmla="*/ 242 w 246"/>
              <a:gd name="T1" fmla="*/ 102 h 178"/>
              <a:gd name="T2" fmla="*/ 244 w 246"/>
              <a:gd name="T3" fmla="*/ 122 h 178"/>
              <a:gd name="T4" fmla="*/ 230 w 246"/>
              <a:gd name="T5" fmla="*/ 128 h 178"/>
              <a:gd name="T6" fmla="*/ 219 w 246"/>
              <a:gd name="T7" fmla="*/ 143 h 178"/>
              <a:gd name="T8" fmla="*/ 222 w 246"/>
              <a:gd name="T9" fmla="*/ 165 h 178"/>
              <a:gd name="T10" fmla="*/ 217 w 246"/>
              <a:gd name="T11" fmla="*/ 165 h 178"/>
              <a:gd name="T12" fmla="*/ 179 w 246"/>
              <a:gd name="T13" fmla="*/ 153 h 178"/>
              <a:gd name="T14" fmla="*/ 158 w 246"/>
              <a:gd name="T15" fmla="*/ 160 h 178"/>
              <a:gd name="T16" fmla="*/ 133 w 246"/>
              <a:gd name="T17" fmla="*/ 176 h 178"/>
              <a:gd name="T18" fmla="*/ 101 w 246"/>
              <a:gd name="T19" fmla="*/ 178 h 178"/>
              <a:gd name="T20" fmla="*/ 75 w 246"/>
              <a:gd name="T21" fmla="*/ 173 h 178"/>
              <a:gd name="T22" fmla="*/ 72 w 246"/>
              <a:gd name="T23" fmla="*/ 163 h 178"/>
              <a:gd name="T24" fmla="*/ 62 w 246"/>
              <a:gd name="T25" fmla="*/ 158 h 178"/>
              <a:gd name="T26" fmla="*/ 56 w 246"/>
              <a:gd name="T27" fmla="*/ 144 h 178"/>
              <a:gd name="T28" fmla="*/ 42 w 246"/>
              <a:gd name="T29" fmla="*/ 148 h 178"/>
              <a:gd name="T30" fmla="*/ 26 w 246"/>
              <a:gd name="T31" fmla="*/ 134 h 178"/>
              <a:gd name="T32" fmla="*/ 28 w 246"/>
              <a:gd name="T33" fmla="*/ 123 h 178"/>
              <a:gd name="T34" fmla="*/ 10 w 246"/>
              <a:gd name="T35" fmla="*/ 106 h 178"/>
              <a:gd name="T36" fmla="*/ 0 w 246"/>
              <a:gd name="T37" fmla="*/ 93 h 178"/>
              <a:gd name="T38" fmla="*/ 10 w 246"/>
              <a:gd name="T39" fmla="*/ 85 h 178"/>
              <a:gd name="T40" fmla="*/ 24 w 246"/>
              <a:gd name="T41" fmla="*/ 81 h 178"/>
              <a:gd name="T42" fmla="*/ 42 w 246"/>
              <a:gd name="T43" fmla="*/ 40 h 178"/>
              <a:gd name="T44" fmla="*/ 58 w 246"/>
              <a:gd name="T45" fmla="*/ 25 h 178"/>
              <a:gd name="T46" fmla="*/ 64 w 246"/>
              <a:gd name="T47" fmla="*/ 17 h 178"/>
              <a:gd name="T48" fmla="*/ 101 w 246"/>
              <a:gd name="T49" fmla="*/ 18 h 178"/>
              <a:gd name="T50" fmla="*/ 117 w 246"/>
              <a:gd name="T51" fmla="*/ 27 h 178"/>
              <a:gd name="T52" fmla="*/ 135 w 246"/>
              <a:gd name="T53" fmla="*/ 18 h 178"/>
              <a:gd name="T54" fmla="*/ 153 w 246"/>
              <a:gd name="T55" fmla="*/ 2 h 178"/>
              <a:gd name="T56" fmla="*/ 156 w 246"/>
              <a:gd name="T57" fmla="*/ 0 h 178"/>
              <a:gd name="T58" fmla="*/ 162 w 246"/>
              <a:gd name="T59" fmla="*/ 8 h 178"/>
              <a:gd name="T60" fmla="*/ 175 w 246"/>
              <a:gd name="T61" fmla="*/ 29 h 178"/>
              <a:gd name="T62" fmla="*/ 193 w 246"/>
              <a:gd name="T63" fmla="*/ 47 h 178"/>
              <a:gd name="T64" fmla="*/ 199 w 246"/>
              <a:gd name="T65" fmla="*/ 68 h 178"/>
              <a:gd name="T66" fmla="*/ 199 w 246"/>
              <a:gd name="T67" fmla="*/ 93 h 178"/>
              <a:gd name="T68" fmla="*/ 205 w 246"/>
              <a:gd name="T69" fmla="*/ 99 h 178"/>
              <a:gd name="T70" fmla="*/ 205 w 246"/>
              <a:gd name="T71" fmla="*/ 101 h 178"/>
              <a:gd name="T72" fmla="*/ 209 w 246"/>
              <a:gd name="T73" fmla="*/ 110 h 178"/>
              <a:gd name="T74" fmla="*/ 221 w 246"/>
              <a:gd name="T75" fmla="*/ 110 h 178"/>
              <a:gd name="T76" fmla="*/ 231 w 246"/>
              <a:gd name="T77" fmla="*/ 100 h 178"/>
              <a:gd name="T78" fmla="*/ 242 w 246"/>
              <a:gd name="T79" fmla="*/ 10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178">
                <a:moveTo>
                  <a:pt x="242" y="102"/>
                </a:moveTo>
                <a:cubicBezTo>
                  <a:pt x="243" y="109"/>
                  <a:pt x="246" y="120"/>
                  <a:pt x="244" y="122"/>
                </a:cubicBezTo>
                <a:cubicBezTo>
                  <a:pt x="241" y="124"/>
                  <a:pt x="233" y="124"/>
                  <a:pt x="230" y="128"/>
                </a:cubicBezTo>
                <a:cubicBezTo>
                  <a:pt x="227" y="132"/>
                  <a:pt x="219" y="139"/>
                  <a:pt x="219" y="143"/>
                </a:cubicBezTo>
                <a:cubicBezTo>
                  <a:pt x="219" y="146"/>
                  <a:pt x="221" y="158"/>
                  <a:pt x="222" y="165"/>
                </a:cubicBezTo>
                <a:cubicBezTo>
                  <a:pt x="217" y="165"/>
                  <a:pt x="217" y="165"/>
                  <a:pt x="217" y="165"/>
                </a:cubicBezTo>
                <a:cubicBezTo>
                  <a:pt x="217" y="165"/>
                  <a:pt x="187" y="153"/>
                  <a:pt x="179" y="153"/>
                </a:cubicBezTo>
                <a:cubicBezTo>
                  <a:pt x="172" y="153"/>
                  <a:pt x="163" y="158"/>
                  <a:pt x="158" y="160"/>
                </a:cubicBezTo>
                <a:cubicBezTo>
                  <a:pt x="153" y="162"/>
                  <a:pt x="143" y="175"/>
                  <a:pt x="133" y="176"/>
                </a:cubicBezTo>
                <a:cubicBezTo>
                  <a:pt x="123" y="176"/>
                  <a:pt x="105" y="178"/>
                  <a:pt x="101" y="178"/>
                </a:cubicBezTo>
                <a:cubicBezTo>
                  <a:pt x="97" y="178"/>
                  <a:pt x="80" y="173"/>
                  <a:pt x="75" y="173"/>
                </a:cubicBezTo>
                <a:cubicBezTo>
                  <a:pt x="69" y="174"/>
                  <a:pt x="76" y="164"/>
                  <a:pt x="72" y="163"/>
                </a:cubicBezTo>
                <a:cubicBezTo>
                  <a:pt x="62" y="158"/>
                  <a:pt x="62" y="158"/>
                  <a:pt x="62" y="158"/>
                </a:cubicBezTo>
                <a:cubicBezTo>
                  <a:pt x="62" y="155"/>
                  <a:pt x="60" y="147"/>
                  <a:pt x="56" y="144"/>
                </a:cubicBezTo>
                <a:cubicBezTo>
                  <a:pt x="51" y="141"/>
                  <a:pt x="46" y="150"/>
                  <a:pt x="42" y="148"/>
                </a:cubicBezTo>
                <a:cubicBezTo>
                  <a:pt x="39" y="146"/>
                  <a:pt x="26" y="134"/>
                  <a:pt x="26" y="134"/>
                </a:cubicBezTo>
                <a:cubicBezTo>
                  <a:pt x="28" y="123"/>
                  <a:pt x="28" y="123"/>
                  <a:pt x="28" y="123"/>
                </a:cubicBezTo>
                <a:cubicBezTo>
                  <a:pt x="28" y="123"/>
                  <a:pt x="14" y="111"/>
                  <a:pt x="10" y="106"/>
                </a:cubicBezTo>
                <a:cubicBezTo>
                  <a:pt x="8" y="103"/>
                  <a:pt x="3" y="97"/>
                  <a:pt x="0" y="93"/>
                </a:cubicBezTo>
                <a:cubicBezTo>
                  <a:pt x="10" y="85"/>
                  <a:pt x="10" y="85"/>
                  <a:pt x="10" y="85"/>
                </a:cubicBezTo>
                <a:cubicBezTo>
                  <a:pt x="13" y="82"/>
                  <a:pt x="23" y="86"/>
                  <a:pt x="24" y="81"/>
                </a:cubicBezTo>
                <a:cubicBezTo>
                  <a:pt x="25" y="76"/>
                  <a:pt x="35" y="47"/>
                  <a:pt x="42" y="40"/>
                </a:cubicBezTo>
                <a:cubicBezTo>
                  <a:pt x="49" y="34"/>
                  <a:pt x="58" y="25"/>
                  <a:pt x="58" y="25"/>
                </a:cubicBezTo>
                <a:cubicBezTo>
                  <a:pt x="64" y="17"/>
                  <a:pt x="64" y="17"/>
                  <a:pt x="64" y="17"/>
                </a:cubicBezTo>
                <a:cubicBezTo>
                  <a:pt x="71" y="17"/>
                  <a:pt x="96" y="17"/>
                  <a:pt x="101" y="18"/>
                </a:cubicBezTo>
                <a:cubicBezTo>
                  <a:pt x="107" y="18"/>
                  <a:pt x="115" y="28"/>
                  <a:pt x="117" y="27"/>
                </a:cubicBezTo>
                <a:cubicBezTo>
                  <a:pt x="119" y="27"/>
                  <a:pt x="133" y="20"/>
                  <a:pt x="135" y="18"/>
                </a:cubicBezTo>
                <a:cubicBezTo>
                  <a:pt x="138" y="16"/>
                  <a:pt x="149" y="6"/>
                  <a:pt x="153" y="2"/>
                </a:cubicBezTo>
                <a:cubicBezTo>
                  <a:pt x="153" y="2"/>
                  <a:pt x="154" y="1"/>
                  <a:pt x="156" y="0"/>
                </a:cubicBezTo>
                <a:cubicBezTo>
                  <a:pt x="162" y="8"/>
                  <a:pt x="162" y="8"/>
                  <a:pt x="162" y="8"/>
                </a:cubicBezTo>
                <a:cubicBezTo>
                  <a:pt x="162" y="8"/>
                  <a:pt x="173" y="25"/>
                  <a:pt x="175" y="29"/>
                </a:cubicBezTo>
                <a:cubicBezTo>
                  <a:pt x="177" y="34"/>
                  <a:pt x="191" y="43"/>
                  <a:pt x="193" y="47"/>
                </a:cubicBezTo>
                <a:cubicBezTo>
                  <a:pt x="195" y="51"/>
                  <a:pt x="201" y="62"/>
                  <a:pt x="199" y="68"/>
                </a:cubicBezTo>
                <a:cubicBezTo>
                  <a:pt x="197" y="75"/>
                  <a:pt x="199" y="87"/>
                  <a:pt x="199" y="93"/>
                </a:cubicBezTo>
                <a:cubicBezTo>
                  <a:pt x="205" y="99"/>
                  <a:pt x="205" y="99"/>
                  <a:pt x="205" y="99"/>
                </a:cubicBezTo>
                <a:cubicBezTo>
                  <a:pt x="205" y="100"/>
                  <a:pt x="204" y="100"/>
                  <a:pt x="205" y="101"/>
                </a:cubicBezTo>
                <a:cubicBezTo>
                  <a:pt x="205" y="107"/>
                  <a:pt x="205" y="108"/>
                  <a:pt x="209" y="110"/>
                </a:cubicBezTo>
                <a:cubicBezTo>
                  <a:pt x="213" y="111"/>
                  <a:pt x="219" y="112"/>
                  <a:pt x="221" y="110"/>
                </a:cubicBezTo>
                <a:cubicBezTo>
                  <a:pt x="224" y="108"/>
                  <a:pt x="227" y="100"/>
                  <a:pt x="231" y="100"/>
                </a:cubicBezTo>
                <a:cubicBezTo>
                  <a:pt x="232" y="100"/>
                  <a:pt x="237" y="101"/>
                  <a:pt x="242" y="102"/>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35" name="Freeform 131"/>
          <p:cNvSpPr>
            <a:spLocks/>
          </p:cNvSpPr>
          <p:nvPr>
            <p:custDataLst>
              <p:tags r:id="rId14"/>
            </p:custDataLst>
          </p:nvPr>
        </p:nvSpPr>
        <p:spPr bwMode="gray">
          <a:xfrm>
            <a:off x="4265317" y="3726681"/>
            <a:ext cx="625095" cy="310232"/>
          </a:xfrm>
          <a:custGeom>
            <a:avLst/>
            <a:gdLst>
              <a:gd name="T0" fmla="*/ 173 w 173"/>
              <a:gd name="T1" fmla="*/ 12 h 116"/>
              <a:gd name="T2" fmla="*/ 173 w 173"/>
              <a:gd name="T3" fmla="*/ 18 h 116"/>
              <a:gd name="T4" fmla="*/ 169 w 173"/>
              <a:gd name="T5" fmla="*/ 26 h 116"/>
              <a:gd name="T6" fmla="*/ 159 w 173"/>
              <a:gd name="T7" fmla="*/ 28 h 116"/>
              <a:gd name="T8" fmla="*/ 156 w 173"/>
              <a:gd name="T9" fmla="*/ 50 h 116"/>
              <a:gd name="T10" fmla="*/ 146 w 173"/>
              <a:gd name="T11" fmla="*/ 59 h 116"/>
              <a:gd name="T12" fmla="*/ 157 w 173"/>
              <a:gd name="T13" fmla="*/ 69 h 116"/>
              <a:gd name="T14" fmla="*/ 163 w 173"/>
              <a:gd name="T15" fmla="*/ 78 h 116"/>
              <a:gd name="T16" fmla="*/ 153 w 173"/>
              <a:gd name="T17" fmla="*/ 82 h 116"/>
              <a:gd name="T18" fmla="*/ 137 w 173"/>
              <a:gd name="T19" fmla="*/ 80 h 116"/>
              <a:gd name="T20" fmla="*/ 117 w 173"/>
              <a:gd name="T21" fmla="*/ 87 h 116"/>
              <a:gd name="T22" fmla="*/ 109 w 173"/>
              <a:gd name="T23" fmla="*/ 104 h 116"/>
              <a:gd name="T24" fmla="*/ 90 w 173"/>
              <a:gd name="T25" fmla="*/ 109 h 116"/>
              <a:gd name="T26" fmla="*/ 61 w 173"/>
              <a:gd name="T27" fmla="*/ 102 h 116"/>
              <a:gd name="T28" fmla="*/ 24 w 173"/>
              <a:gd name="T29" fmla="*/ 116 h 116"/>
              <a:gd name="T30" fmla="*/ 23 w 173"/>
              <a:gd name="T31" fmla="*/ 102 h 116"/>
              <a:gd name="T32" fmla="*/ 17 w 173"/>
              <a:gd name="T33" fmla="*/ 87 h 116"/>
              <a:gd name="T34" fmla="*/ 4 w 173"/>
              <a:gd name="T35" fmla="*/ 74 h 116"/>
              <a:gd name="T36" fmla="*/ 21 w 173"/>
              <a:gd name="T37" fmla="*/ 44 h 116"/>
              <a:gd name="T38" fmla="*/ 5 w 173"/>
              <a:gd name="T39" fmla="*/ 22 h 116"/>
              <a:gd name="T40" fmla="*/ 13 w 173"/>
              <a:gd name="T41" fmla="*/ 5 h 116"/>
              <a:gd name="T42" fmla="*/ 23 w 173"/>
              <a:gd name="T43" fmla="*/ 10 h 116"/>
              <a:gd name="T44" fmla="*/ 26 w 173"/>
              <a:gd name="T45" fmla="*/ 20 h 116"/>
              <a:gd name="T46" fmla="*/ 52 w 173"/>
              <a:gd name="T47" fmla="*/ 25 h 116"/>
              <a:gd name="T48" fmla="*/ 84 w 173"/>
              <a:gd name="T49" fmla="*/ 23 h 116"/>
              <a:gd name="T50" fmla="*/ 109 w 173"/>
              <a:gd name="T51" fmla="*/ 7 h 116"/>
              <a:gd name="T52" fmla="*/ 130 w 173"/>
              <a:gd name="T53" fmla="*/ 0 h 116"/>
              <a:gd name="T54" fmla="*/ 168 w 173"/>
              <a:gd name="T55" fmla="*/ 12 h 116"/>
              <a:gd name="T56" fmla="*/ 173 w 173"/>
              <a:gd name="T57" fmla="*/ 1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3" h="116">
                <a:moveTo>
                  <a:pt x="173" y="12"/>
                </a:moveTo>
                <a:cubicBezTo>
                  <a:pt x="173" y="15"/>
                  <a:pt x="173" y="17"/>
                  <a:pt x="173" y="18"/>
                </a:cubicBezTo>
                <a:cubicBezTo>
                  <a:pt x="173" y="21"/>
                  <a:pt x="170" y="24"/>
                  <a:pt x="169" y="26"/>
                </a:cubicBezTo>
                <a:cubicBezTo>
                  <a:pt x="168" y="29"/>
                  <a:pt x="159" y="24"/>
                  <a:pt x="159" y="28"/>
                </a:cubicBezTo>
                <a:cubicBezTo>
                  <a:pt x="159" y="33"/>
                  <a:pt x="156" y="47"/>
                  <a:pt x="156" y="50"/>
                </a:cubicBezTo>
                <a:cubicBezTo>
                  <a:pt x="156" y="54"/>
                  <a:pt x="146" y="54"/>
                  <a:pt x="146" y="59"/>
                </a:cubicBezTo>
                <a:cubicBezTo>
                  <a:pt x="146" y="65"/>
                  <a:pt x="151" y="69"/>
                  <a:pt x="157" y="69"/>
                </a:cubicBezTo>
                <a:cubicBezTo>
                  <a:pt x="161" y="70"/>
                  <a:pt x="163" y="74"/>
                  <a:pt x="163" y="78"/>
                </a:cubicBezTo>
                <a:cubicBezTo>
                  <a:pt x="159" y="80"/>
                  <a:pt x="154" y="82"/>
                  <a:pt x="153" y="82"/>
                </a:cubicBezTo>
                <a:cubicBezTo>
                  <a:pt x="149" y="84"/>
                  <a:pt x="142" y="78"/>
                  <a:pt x="137" y="80"/>
                </a:cubicBezTo>
                <a:cubicBezTo>
                  <a:pt x="131" y="81"/>
                  <a:pt x="125" y="82"/>
                  <a:pt x="117" y="87"/>
                </a:cubicBezTo>
                <a:cubicBezTo>
                  <a:pt x="110" y="92"/>
                  <a:pt x="111" y="98"/>
                  <a:pt x="109" y="104"/>
                </a:cubicBezTo>
                <a:cubicBezTo>
                  <a:pt x="107" y="110"/>
                  <a:pt x="96" y="109"/>
                  <a:pt x="90" y="109"/>
                </a:cubicBezTo>
                <a:cubicBezTo>
                  <a:pt x="84" y="109"/>
                  <a:pt x="68" y="102"/>
                  <a:pt x="61" y="102"/>
                </a:cubicBezTo>
                <a:cubicBezTo>
                  <a:pt x="55" y="102"/>
                  <a:pt x="35" y="111"/>
                  <a:pt x="24" y="116"/>
                </a:cubicBezTo>
                <a:cubicBezTo>
                  <a:pt x="23" y="102"/>
                  <a:pt x="23" y="102"/>
                  <a:pt x="23" y="102"/>
                </a:cubicBezTo>
                <a:cubicBezTo>
                  <a:pt x="23" y="97"/>
                  <a:pt x="17" y="87"/>
                  <a:pt x="17" y="87"/>
                </a:cubicBezTo>
                <a:cubicBezTo>
                  <a:pt x="17" y="87"/>
                  <a:pt x="0" y="80"/>
                  <a:pt x="4" y="74"/>
                </a:cubicBezTo>
                <a:cubicBezTo>
                  <a:pt x="8" y="68"/>
                  <a:pt x="21" y="44"/>
                  <a:pt x="21" y="44"/>
                </a:cubicBezTo>
                <a:cubicBezTo>
                  <a:pt x="21" y="44"/>
                  <a:pt x="4" y="30"/>
                  <a:pt x="5" y="22"/>
                </a:cubicBezTo>
                <a:cubicBezTo>
                  <a:pt x="7" y="13"/>
                  <a:pt x="13" y="8"/>
                  <a:pt x="13" y="5"/>
                </a:cubicBezTo>
                <a:cubicBezTo>
                  <a:pt x="23" y="10"/>
                  <a:pt x="23" y="10"/>
                  <a:pt x="23" y="10"/>
                </a:cubicBezTo>
                <a:cubicBezTo>
                  <a:pt x="27" y="11"/>
                  <a:pt x="20" y="21"/>
                  <a:pt x="26" y="20"/>
                </a:cubicBezTo>
                <a:cubicBezTo>
                  <a:pt x="31" y="20"/>
                  <a:pt x="48" y="25"/>
                  <a:pt x="52" y="25"/>
                </a:cubicBezTo>
                <a:cubicBezTo>
                  <a:pt x="56" y="25"/>
                  <a:pt x="74" y="23"/>
                  <a:pt x="84" y="23"/>
                </a:cubicBezTo>
                <a:cubicBezTo>
                  <a:pt x="94" y="22"/>
                  <a:pt x="104" y="9"/>
                  <a:pt x="109" y="7"/>
                </a:cubicBezTo>
                <a:cubicBezTo>
                  <a:pt x="114" y="5"/>
                  <a:pt x="123" y="0"/>
                  <a:pt x="130" y="0"/>
                </a:cubicBezTo>
                <a:cubicBezTo>
                  <a:pt x="138" y="0"/>
                  <a:pt x="168" y="12"/>
                  <a:pt x="168" y="12"/>
                </a:cubicBezTo>
                <a:lnTo>
                  <a:pt x="173" y="12"/>
                </a:ln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36" name="Freeform 132"/>
          <p:cNvSpPr>
            <a:spLocks/>
          </p:cNvSpPr>
          <p:nvPr>
            <p:custDataLst>
              <p:tags r:id="rId15"/>
            </p:custDataLst>
          </p:nvPr>
        </p:nvSpPr>
        <p:spPr bwMode="gray">
          <a:xfrm>
            <a:off x="4670071" y="3935867"/>
            <a:ext cx="296980" cy="184366"/>
          </a:xfrm>
          <a:custGeom>
            <a:avLst/>
            <a:gdLst>
              <a:gd name="T0" fmla="*/ 16 w 82"/>
              <a:gd name="T1" fmla="*/ 50 h 69"/>
              <a:gd name="T2" fmla="*/ 0 w 82"/>
              <a:gd name="T3" fmla="*/ 52 h 69"/>
              <a:gd name="T4" fmla="*/ 0 w 82"/>
              <a:gd name="T5" fmla="*/ 52 h 69"/>
              <a:gd name="T6" fmla="*/ 8 w 82"/>
              <a:gd name="T7" fmla="*/ 42 h 69"/>
              <a:gd name="T8" fmla="*/ 14 w 82"/>
              <a:gd name="T9" fmla="*/ 26 h 69"/>
              <a:gd name="T10" fmla="*/ 5 w 82"/>
              <a:gd name="T11" fmla="*/ 9 h 69"/>
              <a:gd name="T12" fmla="*/ 25 w 82"/>
              <a:gd name="T13" fmla="*/ 2 h 69"/>
              <a:gd name="T14" fmla="*/ 41 w 82"/>
              <a:gd name="T15" fmla="*/ 4 h 69"/>
              <a:gd name="T16" fmla="*/ 51 w 82"/>
              <a:gd name="T17" fmla="*/ 0 h 69"/>
              <a:gd name="T18" fmla="*/ 51 w 82"/>
              <a:gd name="T19" fmla="*/ 4 h 69"/>
              <a:gd name="T20" fmla="*/ 60 w 82"/>
              <a:gd name="T21" fmla="*/ 18 h 69"/>
              <a:gd name="T22" fmla="*/ 79 w 82"/>
              <a:gd name="T23" fmla="*/ 23 h 69"/>
              <a:gd name="T24" fmla="*/ 75 w 82"/>
              <a:gd name="T25" fmla="*/ 33 h 69"/>
              <a:gd name="T26" fmla="*/ 59 w 82"/>
              <a:gd name="T27" fmla="*/ 33 h 69"/>
              <a:gd name="T28" fmla="*/ 42 w 82"/>
              <a:gd name="T29" fmla="*/ 39 h 69"/>
              <a:gd name="T30" fmla="*/ 34 w 82"/>
              <a:gd name="T31" fmla="*/ 48 h 69"/>
              <a:gd name="T32" fmla="*/ 28 w 82"/>
              <a:gd name="T33" fmla="*/ 53 h 69"/>
              <a:gd name="T34" fmla="*/ 10 w 82"/>
              <a:gd name="T35" fmla="*/ 63 h 69"/>
              <a:gd name="T36" fmla="*/ 6 w 82"/>
              <a:gd name="T37" fmla="*/ 67 h 69"/>
              <a:gd name="T38" fmla="*/ 0 w 82"/>
              <a:gd name="T39" fmla="*/ 66 h 69"/>
              <a:gd name="T40" fmla="*/ 16 w 82"/>
              <a:gd name="T41"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69">
                <a:moveTo>
                  <a:pt x="16" y="50"/>
                </a:moveTo>
                <a:cubicBezTo>
                  <a:pt x="15" y="44"/>
                  <a:pt x="4" y="56"/>
                  <a:pt x="0" y="52"/>
                </a:cubicBezTo>
                <a:cubicBezTo>
                  <a:pt x="0" y="52"/>
                  <a:pt x="0" y="52"/>
                  <a:pt x="0" y="52"/>
                </a:cubicBezTo>
                <a:cubicBezTo>
                  <a:pt x="3" y="48"/>
                  <a:pt x="6" y="44"/>
                  <a:pt x="8" y="42"/>
                </a:cubicBezTo>
                <a:cubicBezTo>
                  <a:pt x="10" y="40"/>
                  <a:pt x="14" y="34"/>
                  <a:pt x="14" y="26"/>
                </a:cubicBezTo>
                <a:cubicBezTo>
                  <a:pt x="14" y="18"/>
                  <a:pt x="5" y="9"/>
                  <a:pt x="5" y="9"/>
                </a:cubicBezTo>
                <a:cubicBezTo>
                  <a:pt x="13" y="4"/>
                  <a:pt x="19" y="3"/>
                  <a:pt x="25" y="2"/>
                </a:cubicBezTo>
                <a:cubicBezTo>
                  <a:pt x="30" y="0"/>
                  <a:pt x="37" y="6"/>
                  <a:pt x="41" y="4"/>
                </a:cubicBezTo>
                <a:cubicBezTo>
                  <a:pt x="42" y="4"/>
                  <a:pt x="47" y="2"/>
                  <a:pt x="51" y="0"/>
                </a:cubicBezTo>
                <a:cubicBezTo>
                  <a:pt x="51" y="2"/>
                  <a:pt x="51" y="3"/>
                  <a:pt x="51" y="4"/>
                </a:cubicBezTo>
                <a:cubicBezTo>
                  <a:pt x="51" y="9"/>
                  <a:pt x="55" y="17"/>
                  <a:pt x="60" y="18"/>
                </a:cubicBezTo>
                <a:cubicBezTo>
                  <a:pt x="64" y="18"/>
                  <a:pt x="77" y="23"/>
                  <a:pt x="79" y="23"/>
                </a:cubicBezTo>
                <a:cubicBezTo>
                  <a:pt x="82" y="24"/>
                  <a:pt x="79" y="33"/>
                  <a:pt x="75" y="33"/>
                </a:cubicBezTo>
                <a:cubicBezTo>
                  <a:pt x="72" y="34"/>
                  <a:pt x="63" y="31"/>
                  <a:pt x="59" y="33"/>
                </a:cubicBezTo>
                <a:cubicBezTo>
                  <a:pt x="54" y="35"/>
                  <a:pt x="46" y="35"/>
                  <a:pt x="42" y="39"/>
                </a:cubicBezTo>
                <a:cubicBezTo>
                  <a:pt x="39" y="42"/>
                  <a:pt x="34" y="48"/>
                  <a:pt x="34" y="48"/>
                </a:cubicBezTo>
                <a:cubicBezTo>
                  <a:pt x="34" y="48"/>
                  <a:pt x="31" y="51"/>
                  <a:pt x="28" y="53"/>
                </a:cubicBezTo>
                <a:cubicBezTo>
                  <a:pt x="25" y="55"/>
                  <a:pt x="14" y="60"/>
                  <a:pt x="10" y="63"/>
                </a:cubicBezTo>
                <a:cubicBezTo>
                  <a:pt x="6" y="65"/>
                  <a:pt x="9" y="66"/>
                  <a:pt x="6" y="67"/>
                </a:cubicBezTo>
                <a:cubicBezTo>
                  <a:pt x="3" y="69"/>
                  <a:pt x="1" y="69"/>
                  <a:pt x="0" y="66"/>
                </a:cubicBezTo>
                <a:cubicBezTo>
                  <a:pt x="0" y="63"/>
                  <a:pt x="17" y="52"/>
                  <a:pt x="16" y="50"/>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37" name="Freeform 133"/>
          <p:cNvSpPr>
            <a:spLocks/>
          </p:cNvSpPr>
          <p:nvPr>
            <p:custDataLst>
              <p:tags r:id="rId16"/>
            </p:custDataLst>
          </p:nvPr>
        </p:nvSpPr>
        <p:spPr bwMode="gray">
          <a:xfrm>
            <a:off x="4119221" y="2361656"/>
            <a:ext cx="548455" cy="230459"/>
          </a:xfrm>
          <a:custGeom>
            <a:avLst/>
            <a:gdLst>
              <a:gd name="T0" fmla="*/ 139 w 151"/>
              <a:gd name="T1" fmla="*/ 38 h 86"/>
              <a:gd name="T2" fmla="*/ 150 w 151"/>
              <a:gd name="T3" fmla="*/ 61 h 86"/>
              <a:gd name="T4" fmla="*/ 150 w 151"/>
              <a:gd name="T5" fmla="*/ 64 h 86"/>
              <a:gd name="T6" fmla="*/ 142 w 151"/>
              <a:gd name="T7" fmla="*/ 74 h 86"/>
              <a:gd name="T8" fmla="*/ 122 w 151"/>
              <a:gd name="T9" fmla="*/ 86 h 86"/>
              <a:gd name="T10" fmla="*/ 112 w 151"/>
              <a:gd name="T11" fmla="*/ 83 h 86"/>
              <a:gd name="T12" fmla="*/ 100 w 151"/>
              <a:gd name="T13" fmla="*/ 72 h 86"/>
              <a:gd name="T14" fmla="*/ 88 w 151"/>
              <a:gd name="T15" fmla="*/ 69 h 86"/>
              <a:gd name="T16" fmla="*/ 80 w 151"/>
              <a:gd name="T17" fmla="*/ 59 h 86"/>
              <a:gd name="T18" fmla="*/ 66 w 151"/>
              <a:gd name="T19" fmla="*/ 67 h 86"/>
              <a:gd name="T20" fmla="*/ 34 w 151"/>
              <a:gd name="T21" fmla="*/ 65 h 86"/>
              <a:gd name="T22" fmla="*/ 16 w 151"/>
              <a:gd name="T23" fmla="*/ 69 h 86"/>
              <a:gd name="T24" fmla="*/ 2 w 151"/>
              <a:gd name="T25" fmla="*/ 73 h 86"/>
              <a:gd name="T26" fmla="*/ 0 w 151"/>
              <a:gd name="T27" fmla="*/ 65 h 86"/>
              <a:gd name="T28" fmla="*/ 2 w 151"/>
              <a:gd name="T29" fmla="*/ 50 h 86"/>
              <a:gd name="T30" fmla="*/ 9 w 151"/>
              <a:gd name="T31" fmla="*/ 43 h 86"/>
              <a:gd name="T32" fmla="*/ 10 w 151"/>
              <a:gd name="T33" fmla="*/ 32 h 86"/>
              <a:gd name="T34" fmla="*/ 15 w 151"/>
              <a:gd name="T35" fmla="*/ 22 h 86"/>
              <a:gd name="T36" fmla="*/ 22 w 151"/>
              <a:gd name="T37" fmla="*/ 20 h 86"/>
              <a:gd name="T38" fmla="*/ 33 w 151"/>
              <a:gd name="T39" fmla="*/ 14 h 86"/>
              <a:gd name="T40" fmla="*/ 35 w 151"/>
              <a:gd name="T41" fmla="*/ 21 h 86"/>
              <a:gd name="T42" fmla="*/ 44 w 151"/>
              <a:gd name="T43" fmla="*/ 29 h 86"/>
              <a:gd name="T44" fmla="*/ 48 w 151"/>
              <a:gd name="T45" fmla="*/ 39 h 86"/>
              <a:gd name="T46" fmla="*/ 59 w 151"/>
              <a:gd name="T47" fmla="*/ 42 h 86"/>
              <a:gd name="T48" fmla="*/ 70 w 151"/>
              <a:gd name="T49" fmla="*/ 31 h 86"/>
              <a:gd name="T50" fmla="*/ 67 w 151"/>
              <a:gd name="T51" fmla="*/ 13 h 86"/>
              <a:gd name="T52" fmla="*/ 68 w 151"/>
              <a:gd name="T53" fmla="*/ 6 h 86"/>
              <a:gd name="T54" fmla="*/ 76 w 151"/>
              <a:gd name="T55" fmla="*/ 4 h 86"/>
              <a:gd name="T56" fmla="*/ 91 w 151"/>
              <a:gd name="T57" fmla="*/ 2 h 86"/>
              <a:gd name="T58" fmla="*/ 108 w 151"/>
              <a:gd name="T59" fmla="*/ 18 h 86"/>
              <a:gd name="T60" fmla="*/ 118 w 151"/>
              <a:gd name="T61" fmla="*/ 14 h 86"/>
              <a:gd name="T62" fmla="*/ 128 w 151"/>
              <a:gd name="T63" fmla="*/ 14 h 86"/>
              <a:gd name="T64" fmla="*/ 128 w 151"/>
              <a:gd name="T65" fmla="*/ 14 h 86"/>
              <a:gd name="T66" fmla="*/ 138 w 151"/>
              <a:gd name="T67" fmla="*/ 24 h 86"/>
              <a:gd name="T68" fmla="*/ 139 w 151"/>
              <a:gd name="T69"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86">
                <a:moveTo>
                  <a:pt x="139" y="38"/>
                </a:moveTo>
                <a:cubicBezTo>
                  <a:pt x="140" y="45"/>
                  <a:pt x="150" y="56"/>
                  <a:pt x="150" y="61"/>
                </a:cubicBezTo>
                <a:cubicBezTo>
                  <a:pt x="151" y="62"/>
                  <a:pt x="151" y="63"/>
                  <a:pt x="150" y="64"/>
                </a:cubicBezTo>
                <a:cubicBezTo>
                  <a:pt x="149" y="68"/>
                  <a:pt x="144" y="71"/>
                  <a:pt x="142" y="74"/>
                </a:cubicBezTo>
                <a:cubicBezTo>
                  <a:pt x="138" y="78"/>
                  <a:pt x="124" y="83"/>
                  <a:pt x="122" y="86"/>
                </a:cubicBezTo>
                <a:cubicBezTo>
                  <a:pt x="112" y="83"/>
                  <a:pt x="112" y="83"/>
                  <a:pt x="112" y="83"/>
                </a:cubicBezTo>
                <a:cubicBezTo>
                  <a:pt x="108" y="80"/>
                  <a:pt x="106" y="73"/>
                  <a:pt x="100" y="72"/>
                </a:cubicBezTo>
                <a:cubicBezTo>
                  <a:pt x="96" y="70"/>
                  <a:pt x="88" y="69"/>
                  <a:pt x="88" y="69"/>
                </a:cubicBezTo>
                <a:cubicBezTo>
                  <a:pt x="88" y="69"/>
                  <a:pt x="84" y="60"/>
                  <a:pt x="80" y="59"/>
                </a:cubicBezTo>
                <a:cubicBezTo>
                  <a:pt x="78" y="58"/>
                  <a:pt x="70" y="68"/>
                  <a:pt x="66" y="67"/>
                </a:cubicBezTo>
                <a:cubicBezTo>
                  <a:pt x="62" y="66"/>
                  <a:pt x="40" y="65"/>
                  <a:pt x="34" y="65"/>
                </a:cubicBezTo>
                <a:cubicBezTo>
                  <a:pt x="28" y="65"/>
                  <a:pt x="20" y="68"/>
                  <a:pt x="16" y="69"/>
                </a:cubicBezTo>
                <a:cubicBezTo>
                  <a:pt x="14" y="70"/>
                  <a:pt x="8" y="72"/>
                  <a:pt x="2" y="73"/>
                </a:cubicBezTo>
                <a:cubicBezTo>
                  <a:pt x="1" y="70"/>
                  <a:pt x="0" y="67"/>
                  <a:pt x="0" y="65"/>
                </a:cubicBezTo>
                <a:cubicBezTo>
                  <a:pt x="0" y="61"/>
                  <a:pt x="1" y="53"/>
                  <a:pt x="2" y="50"/>
                </a:cubicBezTo>
                <a:cubicBezTo>
                  <a:pt x="4" y="47"/>
                  <a:pt x="8" y="45"/>
                  <a:pt x="9" y="43"/>
                </a:cubicBezTo>
                <a:cubicBezTo>
                  <a:pt x="9" y="41"/>
                  <a:pt x="9" y="34"/>
                  <a:pt x="10" y="32"/>
                </a:cubicBezTo>
                <a:cubicBezTo>
                  <a:pt x="12" y="29"/>
                  <a:pt x="12" y="24"/>
                  <a:pt x="15" y="22"/>
                </a:cubicBezTo>
                <a:cubicBezTo>
                  <a:pt x="18" y="21"/>
                  <a:pt x="21" y="20"/>
                  <a:pt x="22" y="20"/>
                </a:cubicBezTo>
                <a:cubicBezTo>
                  <a:pt x="23" y="19"/>
                  <a:pt x="31" y="12"/>
                  <a:pt x="33" y="14"/>
                </a:cubicBezTo>
                <a:cubicBezTo>
                  <a:pt x="35" y="15"/>
                  <a:pt x="33" y="20"/>
                  <a:pt x="35" y="21"/>
                </a:cubicBezTo>
                <a:cubicBezTo>
                  <a:pt x="37" y="22"/>
                  <a:pt x="43" y="26"/>
                  <a:pt x="44" y="29"/>
                </a:cubicBezTo>
                <a:cubicBezTo>
                  <a:pt x="45" y="31"/>
                  <a:pt x="45" y="37"/>
                  <a:pt x="48" y="39"/>
                </a:cubicBezTo>
                <a:cubicBezTo>
                  <a:pt x="52" y="42"/>
                  <a:pt x="54" y="43"/>
                  <a:pt x="59" y="42"/>
                </a:cubicBezTo>
                <a:cubicBezTo>
                  <a:pt x="63" y="40"/>
                  <a:pt x="70" y="36"/>
                  <a:pt x="70" y="31"/>
                </a:cubicBezTo>
                <a:cubicBezTo>
                  <a:pt x="70" y="27"/>
                  <a:pt x="67" y="18"/>
                  <a:pt x="67" y="13"/>
                </a:cubicBezTo>
                <a:cubicBezTo>
                  <a:pt x="67" y="10"/>
                  <a:pt x="67" y="8"/>
                  <a:pt x="68" y="6"/>
                </a:cubicBezTo>
                <a:cubicBezTo>
                  <a:pt x="72" y="5"/>
                  <a:pt x="76" y="4"/>
                  <a:pt x="76" y="4"/>
                </a:cubicBezTo>
                <a:cubicBezTo>
                  <a:pt x="78" y="4"/>
                  <a:pt x="83" y="0"/>
                  <a:pt x="91" y="2"/>
                </a:cubicBezTo>
                <a:cubicBezTo>
                  <a:pt x="99" y="4"/>
                  <a:pt x="106" y="16"/>
                  <a:pt x="108" y="18"/>
                </a:cubicBezTo>
                <a:cubicBezTo>
                  <a:pt x="110" y="20"/>
                  <a:pt x="114" y="14"/>
                  <a:pt x="118" y="14"/>
                </a:cubicBezTo>
                <a:cubicBezTo>
                  <a:pt x="128" y="14"/>
                  <a:pt x="128" y="14"/>
                  <a:pt x="128" y="14"/>
                </a:cubicBezTo>
                <a:cubicBezTo>
                  <a:pt x="128" y="14"/>
                  <a:pt x="128" y="14"/>
                  <a:pt x="128" y="14"/>
                </a:cubicBezTo>
                <a:cubicBezTo>
                  <a:pt x="130" y="18"/>
                  <a:pt x="138" y="23"/>
                  <a:pt x="138" y="24"/>
                </a:cubicBezTo>
                <a:cubicBezTo>
                  <a:pt x="138" y="26"/>
                  <a:pt x="138" y="32"/>
                  <a:pt x="139" y="38"/>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38" name="Freeform 134"/>
          <p:cNvSpPr>
            <a:spLocks/>
          </p:cNvSpPr>
          <p:nvPr>
            <p:custDataLst>
              <p:tags r:id="rId17"/>
            </p:custDataLst>
          </p:nvPr>
        </p:nvSpPr>
        <p:spPr bwMode="gray">
          <a:xfrm>
            <a:off x="3031891" y="1071089"/>
            <a:ext cx="1559145" cy="1249794"/>
          </a:xfrm>
          <a:custGeom>
            <a:avLst/>
            <a:gdLst>
              <a:gd name="T0" fmla="*/ 401 w 431"/>
              <a:gd name="T1" fmla="*/ 60 h 467"/>
              <a:gd name="T2" fmla="*/ 358 w 431"/>
              <a:gd name="T3" fmla="*/ 74 h 467"/>
              <a:gd name="T4" fmla="*/ 301 w 431"/>
              <a:gd name="T5" fmla="*/ 73 h 467"/>
              <a:gd name="T6" fmla="*/ 257 w 431"/>
              <a:gd name="T7" fmla="*/ 123 h 467"/>
              <a:gd name="T8" fmla="*/ 215 w 431"/>
              <a:gd name="T9" fmla="*/ 180 h 467"/>
              <a:gd name="T10" fmla="*/ 188 w 431"/>
              <a:gd name="T11" fmla="*/ 246 h 467"/>
              <a:gd name="T12" fmla="*/ 143 w 431"/>
              <a:gd name="T13" fmla="*/ 340 h 467"/>
              <a:gd name="T14" fmla="*/ 131 w 431"/>
              <a:gd name="T15" fmla="*/ 418 h 467"/>
              <a:gd name="T16" fmla="*/ 106 w 431"/>
              <a:gd name="T17" fmla="*/ 430 h 467"/>
              <a:gd name="T18" fmla="*/ 87 w 431"/>
              <a:gd name="T19" fmla="*/ 438 h 467"/>
              <a:gd name="T20" fmla="*/ 5 w 431"/>
              <a:gd name="T21" fmla="*/ 434 h 467"/>
              <a:gd name="T22" fmla="*/ 19 w 431"/>
              <a:gd name="T23" fmla="*/ 408 h 467"/>
              <a:gd name="T24" fmla="*/ 17 w 431"/>
              <a:gd name="T25" fmla="*/ 395 h 467"/>
              <a:gd name="T26" fmla="*/ 21 w 431"/>
              <a:gd name="T27" fmla="*/ 382 h 467"/>
              <a:gd name="T28" fmla="*/ 13 w 431"/>
              <a:gd name="T29" fmla="*/ 350 h 467"/>
              <a:gd name="T30" fmla="*/ 41 w 431"/>
              <a:gd name="T31" fmla="*/ 355 h 467"/>
              <a:gd name="T32" fmla="*/ 57 w 431"/>
              <a:gd name="T33" fmla="*/ 349 h 467"/>
              <a:gd name="T34" fmla="*/ 25 w 431"/>
              <a:gd name="T35" fmla="*/ 344 h 467"/>
              <a:gd name="T36" fmla="*/ 22 w 431"/>
              <a:gd name="T37" fmla="*/ 332 h 467"/>
              <a:gd name="T38" fmla="*/ 37 w 431"/>
              <a:gd name="T39" fmla="*/ 302 h 467"/>
              <a:gd name="T40" fmla="*/ 53 w 431"/>
              <a:gd name="T41" fmla="*/ 301 h 467"/>
              <a:gd name="T42" fmla="*/ 66 w 431"/>
              <a:gd name="T43" fmla="*/ 298 h 467"/>
              <a:gd name="T44" fmla="*/ 109 w 431"/>
              <a:gd name="T45" fmla="*/ 269 h 467"/>
              <a:gd name="T46" fmla="*/ 130 w 431"/>
              <a:gd name="T47" fmla="*/ 278 h 467"/>
              <a:gd name="T48" fmla="*/ 138 w 431"/>
              <a:gd name="T49" fmla="*/ 256 h 467"/>
              <a:gd name="T50" fmla="*/ 111 w 431"/>
              <a:gd name="T51" fmla="*/ 263 h 467"/>
              <a:gd name="T52" fmla="*/ 151 w 431"/>
              <a:gd name="T53" fmla="*/ 228 h 467"/>
              <a:gd name="T54" fmla="*/ 160 w 431"/>
              <a:gd name="T55" fmla="*/ 213 h 467"/>
              <a:gd name="T56" fmla="*/ 168 w 431"/>
              <a:gd name="T57" fmla="*/ 197 h 467"/>
              <a:gd name="T58" fmla="*/ 195 w 431"/>
              <a:gd name="T59" fmla="*/ 177 h 467"/>
              <a:gd name="T60" fmla="*/ 182 w 431"/>
              <a:gd name="T61" fmla="*/ 161 h 467"/>
              <a:gd name="T62" fmla="*/ 194 w 431"/>
              <a:gd name="T63" fmla="*/ 152 h 467"/>
              <a:gd name="T64" fmla="*/ 208 w 431"/>
              <a:gd name="T65" fmla="*/ 141 h 467"/>
              <a:gd name="T66" fmla="*/ 207 w 431"/>
              <a:gd name="T67" fmla="*/ 127 h 467"/>
              <a:gd name="T68" fmla="*/ 233 w 431"/>
              <a:gd name="T69" fmla="*/ 110 h 467"/>
              <a:gd name="T70" fmla="*/ 233 w 431"/>
              <a:gd name="T71" fmla="*/ 100 h 467"/>
              <a:gd name="T72" fmla="*/ 179 w 431"/>
              <a:gd name="T73" fmla="*/ 122 h 467"/>
              <a:gd name="T74" fmla="*/ 205 w 431"/>
              <a:gd name="T75" fmla="*/ 94 h 467"/>
              <a:gd name="T76" fmla="*/ 231 w 431"/>
              <a:gd name="T77" fmla="*/ 76 h 467"/>
              <a:gd name="T78" fmla="*/ 248 w 431"/>
              <a:gd name="T79" fmla="*/ 82 h 467"/>
              <a:gd name="T80" fmla="*/ 266 w 431"/>
              <a:gd name="T81" fmla="*/ 50 h 467"/>
              <a:gd name="T82" fmla="*/ 287 w 431"/>
              <a:gd name="T83" fmla="*/ 49 h 467"/>
              <a:gd name="T84" fmla="*/ 300 w 431"/>
              <a:gd name="T85" fmla="*/ 34 h 467"/>
              <a:gd name="T86" fmla="*/ 329 w 431"/>
              <a:gd name="T87" fmla="*/ 45 h 467"/>
              <a:gd name="T88" fmla="*/ 329 w 431"/>
              <a:gd name="T89" fmla="*/ 19 h 467"/>
              <a:gd name="T90" fmla="*/ 346 w 431"/>
              <a:gd name="T91" fmla="*/ 11 h 467"/>
              <a:gd name="T92" fmla="*/ 346 w 431"/>
              <a:gd name="T93" fmla="*/ 24 h 467"/>
              <a:gd name="T94" fmla="*/ 356 w 431"/>
              <a:gd name="T95" fmla="*/ 23 h 467"/>
              <a:gd name="T96" fmla="*/ 374 w 431"/>
              <a:gd name="T97" fmla="*/ 12 h 467"/>
              <a:gd name="T98" fmla="*/ 383 w 431"/>
              <a:gd name="T99" fmla="*/ 16 h 467"/>
              <a:gd name="T100" fmla="*/ 396 w 431"/>
              <a:gd name="T101" fmla="*/ 10 h 467"/>
              <a:gd name="T102" fmla="*/ 422 w 431"/>
              <a:gd name="T103" fmla="*/ 20 h 467"/>
              <a:gd name="T104" fmla="*/ 397 w 431"/>
              <a:gd name="T105" fmla="*/ 39 h 467"/>
              <a:gd name="T106" fmla="*/ 421 w 431"/>
              <a:gd name="T107" fmla="*/ 5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1" h="467">
                <a:moveTo>
                  <a:pt x="409" y="77"/>
                </a:moveTo>
                <a:cubicBezTo>
                  <a:pt x="409" y="77"/>
                  <a:pt x="409" y="77"/>
                  <a:pt x="409" y="77"/>
                </a:cubicBezTo>
                <a:cubicBezTo>
                  <a:pt x="407" y="78"/>
                  <a:pt x="406" y="78"/>
                  <a:pt x="405" y="78"/>
                </a:cubicBezTo>
                <a:cubicBezTo>
                  <a:pt x="400" y="78"/>
                  <a:pt x="399" y="76"/>
                  <a:pt x="397" y="74"/>
                </a:cubicBezTo>
                <a:cubicBezTo>
                  <a:pt x="397" y="72"/>
                  <a:pt x="399" y="63"/>
                  <a:pt x="401" y="60"/>
                </a:cubicBezTo>
                <a:cubicBezTo>
                  <a:pt x="401" y="57"/>
                  <a:pt x="396" y="53"/>
                  <a:pt x="393" y="53"/>
                </a:cubicBezTo>
                <a:cubicBezTo>
                  <a:pt x="391" y="53"/>
                  <a:pt x="385" y="46"/>
                  <a:pt x="383" y="45"/>
                </a:cubicBezTo>
                <a:cubicBezTo>
                  <a:pt x="381" y="44"/>
                  <a:pt x="377" y="49"/>
                  <a:pt x="374" y="49"/>
                </a:cubicBezTo>
                <a:cubicBezTo>
                  <a:pt x="371" y="49"/>
                  <a:pt x="367" y="47"/>
                  <a:pt x="365" y="49"/>
                </a:cubicBezTo>
                <a:cubicBezTo>
                  <a:pt x="363" y="52"/>
                  <a:pt x="358" y="67"/>
                  <a:pt x="358" y="74"/>
                </a:cubicBezTo>
                <a:cubicBezTo>
                  <a:pt x="358" y="81"/>
                  <a:pt x="351" y="91"/>
                  <a:pt x="348" y="92"/>
                </a:cubicBezTo>
                <a:cubicBezTo>
                  <a:pt x="345" y="94"/>
                  <a:pt x="331" y="92"/>
                  <a:pt x="331" y="92"/>
                </a:cubicBezTo>
                <a:cubicBezTo>
                  <a:pt x="331" y="92"/>
                  <a:pt x="321" y="91"/>
                  <a:pt x="319" y="91"/>
                </a:cubicBezTo>
                <a:cubicBezTo>
                  <a:pt x="317" y="90"/>
                  <a:pt x="312" y="79"/>
                  <a:pt x="311" y="75"/>
                </a:cubicBezTo>
                <a:cubicBezTo>
                  <a:pt x="309" y="72"/>
                  <a:pt x="306" y="73"/>
                  <a:pt x="301" y="73"/>
                </a:cubicBezTo>
                <a:cubicBezTo>
                  <a:pt x="296" y="72"/>
                  <a:pt x="291" y="77"/>
                  <a:pt x="289" y="82"/>
                </a:cubicBezTo>
                <a:cubicBezTo>
                  <a:pt x="289" y="85"/>
                  <a:pt x="289" y="85"/>
                  <a:pt x="289" y="85"/>
                </a:cubicBezTo>
                <a:cubicBezTo>
                  <a:pt x="282" y="106"/>
                  <a:pt x="282" y="106"/>
                  <a:pt x="282" y="106"/>
                </a:cubicBezTo>
                <a:cubicBezTo>
                  <a:pt x="282" y="106"/>
                  <a:pt x="264" y="99"/>
                  <a:pt x="261" y="102"/>
                </a:cubicBezTo>
                <a:cubicBezTo>
                  <a:pt x="259" y="104"/>
                  <a:pt x="259" y="122"/>
                  <a:pt x="257" y="123"/>
                </a:cubicBezTo>
                <a:cubicBezTo>
                  <a:pt x="255" y="123"/>
                  <a:pt x="247" y="117"/>
                  <a:pt x="247" y="117"/>
                </a:cubicBezTo>
                <a:cubicBezTo>
                  <a:pt x="238" y="124"/>
                  <a:pt x="238" y="124"/>
                  <a:pt x="238" y="124"/>
                </a:cubicBezTo>
                <a:cubicBezTo>
                  <a:pt x="238" y="124"/>
                  <a:pt x="229" y="137"/>
                  <a:pt x="227" y="140"/>
                </a:cubicBezTo>
                <a:cubicBezTo>
                  <a:pt x="225" y="143"/>
                  <a:pt x="228" y="152"/>
                  <a:pt x="227" y="156"/>
                </a:cubicBezTo>
                <a:cubicBezTo>
                  <a:pt x="226" y="161"/>
                  <a:pt x="216" y="179"/>
                  <a:pt x="215" y="180"/>
                </a:cubicBezTo>
                <a:cubicBezTo>
                  <a:pt x="213" y="181"/>
                  <a:pt x="208" y="185"/>
                  <a:pt x="208" y="185"/>
                </a:cubicBezTo>
                <a:cubicBezTo>
                  <a:pt x="199" y="185"/>
                  <a:pt x="199" y="185"/>
                  <a:pt x="199" y="185"/>
                </a:cubicBezTo>
                <a:cubicBezTo>
                  <a:pt x="199" y="185"/>
                  <a:pt x="197" y="205"/>
                  <a:pt x="197" y="213"/>
                </a:cubicBezTo>
                <a:cubicBezTo>
                  <a:pt x="197" y="220"/>
                  <a:pt x="185" y="233"/>
                  <a:pt x="182" y="236"/>
                </a:cubicBezTo>
                <a:cubicBezTo>
                  <a:pt x="179" y="240"/>
                  <a:pt x="189" y="243"/>
                  <a:pt x="188" y="246"/>
                </a:cubicBezTo>
                <a:cubicBezTo>
                  <a:pt x="187" y="250"/>
                  <a:pt x="185" y="262"/>
                  <a:pt x="183" y="262"/>
                </a:cubicBezTo>
                <a:cubicBezTo>
                  <a:pt x="181" y="262"/>
                  <a:pt x="172" y="259"/>
                  <a:pt x="167" y="260"/>
                </a:cubicBezTo>
                <a:cubicBezTo>
                  <a:pt x="161" y="262"/>
                  <a:pt x="150" y="285"/>
                  <a:pt x="149" y="289"/>
                </a:cubicBezTo>
                <a:cubicBezTo>
                  <a:pt x="148" y="293"/>
                  <a:pt x="149" y="313"/>
                  <a:pt x="149" y="313"/>
                </a:cubicBezTo>
                <a:cubicBezTo>
                  <a:pt x="149" y="313"/>
                  <a:pt x="143" y="337"/>
                  <a:pt x="143" y="340"/>
                </a:cubicBezTo>
                <a:cubicBezTo>
                  <a:pt x="143" y="343"/>
                  <a:pt x="154" y="350"/>
                  <a:pt x="154" y="355"/>
                </a:cubicBezTo>
                <a:cubicBezTo>
                  <a:pt x="154" y="359"/>
                  <a:pt x="153" y="364"/>
                  <a:pt x="151" y="367"/>
                </a:cubicBezTo>
                <a:cubicBezTo>
                  <a:pt x="149" y="371"/>
                  <a:pt x="144" y="369"/>
                  <a:pt x="142" y="372"/>
                </a:cubicBezTo>
                <a:cubicBezTo>
                  <a:pt x="140" y="376"/>
                  <a:pt x="147" y="391"/>
                  <a:pt x="145" y="399"/>
                </a:cubicBezTo>
                <a:cubicBezTo>
                  <a:pt x="143" y="407"/>
                  <a:pt x="135" y="412"/>
                  <a:pt x="131" y="418"/>
                </a:cubicBezTo>
                <a:cubicBezTo>
                  <a:pt x="127" y="423"/>
                  <a:pt x="131" y="440"/>
                  <a:pt x="131" y="440"/>
                </a:cubicBezTo>
                <a:cubicBezTo>
                  <a:pt x="131" y="440"/>
                  <a:pt x="128" y="442"/>
                  <a:pt x="126" y="445"/>
                </a:cubicBezTo>
                <a:cubicBezTo>
                  <a:pt x="124" y="449"/>
                  <a:pt x="119" y="438"/>
                  <a:pt x="117" y="438"/>
                </a:cubicBezTo>
                <a:cubicBezTo>
                  <a:pt x="116" y="438"/>
                  <a:pt x="114" y="439"/>
                  <a:pt x="112" y="440"/>
                </a:cubicBezTo>
                <a:cubicBezTo>
                  <a:pt x="110" y="437"/>
                  <a:pt x="106" y="434"/>
                  <a:pt x="106" y="430"/>
                </a:cubicBezTo>
                <a:cubicBezTo>
                  <a:pt x="106" y="427"/>
                  <a:pt x="110" y="410"/>
                  <a:pt x="108" y="410"/>
                </a:cubicBezTo>
                <a:cubicBezTo>
                  <a:pt x="103" y="410"/>
                  <a:pt x="105" y="415"/>
                  <a:pt x="97" y="419"/>
                </a:cubicBezTo>
                <a:cubicBezTo>
                  <a:pt x="92" y="421"/>
                  <a:pt x="100" y="425"/>
                  <a:pt x="100" y="428"/>
                </a:cubicBezTo>
                <a:cubicBezTo>
                  <a:pt x="100" y="431"/>
                  <a:pt x="98" y="436"/>
                  <a:pt x="96" y="437"/>
                </a:cubicBezTo>
                <a:cubicBezTo>
                  <a:pt x="94" y="438"/>
                  <a:pt x="88" y="439"/>
                  <a:pt x="87" y="438"/>
                </a:cubicBezTo>
                <a:cubicBezTo>
                  <a:pt x="85" y="438"/>
                  <a:pt x="82" y="443"/>
                  <a:pt x="79" y="444"/>
                </a:cubicBezTo>
                <a:cubicBezTo>
                  <a:pt x="76" y="446"/>
                  <a:pt x="54" y="466"/>
                  <a:pt x="51" y="466"/>
                </a:cubicBezTo>
                <a:cubicBezTo>
                  <a:pt x="48" y="466"/>
                  <a:pt x="27" y="467"/>
                  <a:pt x="22" y="462"/>
                </a:cubicBezTo>
                <a:cubicBezTo>
                  <a:pt x="17" y="458"/>
                  <a:pt x="29" y="455"/>
                  <a:pt x="22" y="453"/>
                </a:cubicBezTo>
                <a:cubicBezTo>
                  <a:pt x="13" y="449"/>
                  <a:pt x="4" y="438"/>
                  <a:pt x="5" y="434"/>
                </a:cubicBezTo>
                <a:cubicBezTo>
                  <a:pt x="6" y="431"/>
                  <a:pt x="7" y="424"/>
                  <a:pt x="9" y="423"/>
                </a:cubicBezTo>
                <a:cubicBezTo>
                  <a:pt x="10" y="422"/>
                  <a:pt x="14" y="429"/>
                  <a:pt x="16" y="428"/>
                </a:cubicBezTo>
                <a:cubicBezTo>
                  <a:pt x="19" y="426"/>
                  <a:pt x="17" y="417"/>
                  <a:pt x="21" y="417"/>
                </a:cubicBezTo>
                <a:cubicBezTo>
                  <a:pt x="24" y="417"/>
                  <a:pt x="22" y="412"/>
                  <a:pt x="23" y="410"/>
                </a:cubicBezTo>
                <a:cubicBezTo>
                  <a:pt x="23" y="408"/>
                  <a:pt x="22" y="408"/>
                  <a:pt x="19" y="408"/>
                </a:cubicBezTo>
                <a:cubicBezTo>
                  <a:pt x="16" y="409"/>
                  <a:pt x="18" y="409"/>
                  <a:pt x="15" y="412"/>
                </a:cubicBezTo>
                <a:cubicBezTo>
                  <a:pt x="13" y="414"/>
                  <a:pt x="6" y="419"/>
                  <a:pt x="3" y="418"/>
                </a:cubicBezTo>
                <a:cubicBezTo>
                  <a:pt x="0" y="418"/>
                  <a:pt x="1" y="413"/>
                  <a:pt x="3" y="411"/>
                </a:cubicBezTo>
                <a:cubicBezTo>
                  <a:pt x="4" y="408"/>
                  <a:pt x="5" y="403"/>
                  <a:pt x="8" y="401"/>
                </a:cubicBezTo>
                <a:cubicBezTo>
                  <a:pt x="11" y="400"/>
                  <a:pt x="16" y="396"/>
                  <a:pt x="17" y="395"/>
                </a:cubicBezTo>
                <a:cubicBezTo>
                  <a:pt x="19" y="393"/>
                  <a:pt x="26" y="388"/>
                  <a:pt x="27" y="386"/>
                </a:cubicBezTo>
                <a:cubicBezTo>
                  <a:pt x="27" y="385"/>
                  <a:pt x="29" y="381"/>
                  <a:pt x="31" y="379"/>
                </a:cubicBezTo>
                <a:cubicBezTo>
                  <a:pt x="33" y="378"/>
                  <a:pt x="38" y="378"/>
                  <a:pt x="38" y="376"/>
                </a:cubicBezTo>
                <a:cubicBezTo>
                  <a:pt x="38" y="375"/>
                  <a:pt x="35" y="373"/>
                  <a:pt x="30" y="374"/>
                </a:cubicBezTo>
                <a:cubicBezTo>
                  <a:pt x="26" y="376"/>
                  <a:pt x="22" y="379"/>
                  <a:pt x="21" y="382"/>
                </a:cubicBezTo>
                <a:cubicBezTo>
                  <a:pt x="20" y="385"/>
                  <a:pt x="16" y="387"/>
                  <a:pt x="14" y="389"/>
                </a:cubicBezTo>
                <a:cubicBezTo>
                  <a:pt x="12" y="390"/>
                  <a:pt x="8" y="396"/>
                  <a:pt x="6" y="392"/>
                </a:cubicBezTo>
                <a:cubicBezTo>
                  <a:pt x="5" y="387"/>
                  <a:pt x="10" y="375"/>
                  <a:pt x="10" y="371"/>
                </a:cubicBezTo>
                <a:cubicBezTo>
                  <a:pt x="10" y="367"/>
                  <a:pt x="9" y="359"/>
                  <a:pt x="10" y="356"/>
                </a:cubicBezTo>
                <a:cubicBezTo>
                  <a:pt x="11" y="352"/>
                  <a:pt x="12" y="351"/>
                  <a:pt x="13" y="350"/>
                </a:cubicBezTo>
                <a:cubicBezTo>
                  <a:pt x="14" y="349"/>
                  <a:pt x="17" y="349"/>
                  <a:pt x="18" y="350"/>
                </a:cubicBezTo>
                <a:cubicBezTo>
                  <a:pt x="19" y="351"/>
                  <a:pt x="20" y="353"/>
                  <a:pt x="22" y="353"/>
                </a:cubicBezTo>
                <a:cubicBezTo>
                  <a:pt x="24" y="353"/>
                  <a:pt x="26" y="351"/>
                  <a:pt x="28" y="351"/>
                </a:cubicBezTo>
                <a:cubicBezTo>
                  <a:pt x="30" y="351"/>
                  <a:pt x="35" y="353"/>
                  <a:pt x="37" y="354"/>
                </a:cubicBezTo>
                <a:cubicBezTo>
                  <a:pt x="38" y="355"/>
                  <a:pt x="39" y="355"/>
                  <a:pt x="41" y="355"/>
                </a:cubicBezTo>
                <a:cubicBezTo>
                  <a:pt x="43" y="354"/>
                  <a:pt x="43" y="352"/>
                  <a:pt x="45" y="352"/>
                </a:cubicBezTo>
                <a:cubicBezTo>
                  <a:pt x="47" y="353"/>
                  <a:pt x="47" y="356"/>
                  <a:pt x="49" y="356"/>
                </a:cubicBezTo>
                <a:cubicBezTo>
                  <a:pt x="52" y="356"/>
                  <a:pt x="55" y="355"/>
                  <a:pt x="56" y="355"/>
                </a:cubicBezTo>
                <a:cubicBezTo>
                  <a:pt x="58" y="355"/>
                  <a:pt x="61" y="352"/>
                  <a:pt x="61" y="351"/>
                </a:cubicBezTo>
                <a:cubicBezTo>
                  <a:pt x="61" y="350"/>
                  <a:pt x="58" y="349"/>
                  <a:pt x="57" y="349"/>
                </a:cubicBezTo>
                <a:cubicBezTo>
                  <a:pt x="56" y="349"/>
                  <a:pt x="52" y="350"/>
                  <a:pt x="51" y="349"/>
                </a:cubicBezTo>
                <a:cubicBezTo>
                  <a:pt x="51" y="348"/>
                  <a:pt x="43" y="342"/>
                  <a:pt x="41" y="345"/>
                </a:cubicBezTo>
                <a:cubicBezTo>
                  <a:pt x="40" y="346"/>
                  <a:pt x="42" y="349"/>
                  <a:pt x="39" y="348"/>
                </a:cubicBezTo>
                <a:cubicBezTo>
                  <a:pt x="37" y="347"/>
                  <a:pt x="36" y="346"/>
                  <a:pt x="33" y="345"/>
                </a:cubicBezTo>
                <a:cubicBezTo>
                  <a:pt x="29" y="344"/>
                  <a:pt x="28" y="344"/>
                  <a:pt x="25" y="344"/>
                </a:cubicBezTo>
                <a:cubicBezTo>
                  <a:pt x="22" y="345"/>
                  <a:pt x="23" y="347"/>
                  <a:pt x="21" y="344"/>
                </a:cubicBezTo>
                <a:cubicBezTo>
                  <a:pt x="19" y="341"/>
                  <a:pt x="15" y="342"/>
                  <a:pt x="12" y="343"/>
                </a:cubicBezTo>
                <a:cubicBezTo>
                  <a:pt x="10" y="344"/>
                  <a:pt x="7" y="348"/>
                  <a:pt x="7" y="344"/>
                </a:cubicBezTo>
                <a:cubicBezTo>
                  <a:pt x="7" y="340"/>
                  <a:pt x="12" y="336"/>
                  <a:pt x="17" y="335"/>
                </a:cubicBezTo>
                <a:cubicBezTo>
                  <a:pt x="21" y="334"/>
                  <a:pt x="22" y="334"/>
                  <a:pt x="22" y="332"/>
                </a:cubicBezTo>
                <a:cubicBezTo>
                  <a:pt x="21" y="329"/>
                  <a:pt x="17" y="330"/>
                  <a:pt x="18" y="325"/>
                </a:cubicBezTo>
                <a:cubicBezTo>
                  <a:pt x="20" y="321"/>
                  <a:pt x="20" y="316"/>
                  <a:pt x="22" y="315"/>
                </a:cubicBezTo>
                <a:cubicBezTo>
                  <a:pt x="25" y="313"/>
                  <a:pt x="27" y="316"/>
                  <a:pt x="29" y="314"/>
                </a:cubicBezTo>
                <a:cubicBezTo>
                  <a:pt x="31" y="313"/>
                  <a:pt x="25" y="309"/>
                  <a:pt x="28" y="307"/>
                </a:cubicBezTo>
                <a:cubicBezTo>
                  <a:pt x="30" y="306"/>
                  <a:pt x="34" y="302"/>
                  <a:pt x="37" y="302"/>
                </a:cubicBezTo>
                <a:cubicBezTo>
                  <a:pt x="40" y="302"/>
                  <a:pt x="41" y="302"/>
                  <a:pt x="41" y="303"/>
                </a:cubicBezTo>
                <a:cubicBezTo>
                  <a:pt x="41" y="305"/>
                  <a:pt x="43" y="308"/>
                  <a:pt x="47" y="308"/>
                </a:cubicBezTo>
                <a:cubicBezTo>
                  <a:pt x="51" y="308"/>
                  <a:pt x="54" y="306"/>
                  <a:pt x="55" y="307"/>
                </a:cubicBezTo>
                <a:cubicBezTo>
                  <a:pt x="60" y="309"/>
                  <a:pt x="59" y="305"/>
                  <a:pt x="59" y="304"/>
                </a:cubicBezTo>
                <a:cubicBezTo>
                  <a:pt x="59" y="302"/>
                  <a:pt x="56" y="302"/>
                  <a:pt x="53" y="301"/>
                </a:cubicBezTo>
                <a:cubicBezTo>
                  <a:pt x="50" y="301"/>
                  <a:pt x="49" y="303"/>
                  <a:pt x="48" y="301"/>
                </a:cubicBezTo>
                <a:cubicBezTo>
                  <a:pt x="47" y="300"/>
                  <a:pt x="47" y="298"/>
                  <a:pt x="46" y="298"/>
                </a:cubicBezTo>
                <a:cubicBezTo>
                  <a:pt x="44" y="297"/>
                  <a:pt x="45" y="296"/>
                  <a:pt x="48" y="294"/>
                </a:cubicBezTo>
                <a:cubicBezTo>
                  <a:pt x="51" y="292"/>
                  <a:pt x="51" y="294"/>
                  <a:pt x="54" y="294"/>
                </a:cubicBezTo>
                <a:cubicBezTo>
                  <a:pt x="57" y="294"/>
                  <a:pt x="63" y="298"/>
                  <a:pt x="66" y="298"/>
                </a:cubicBezTo>
                <a:cubicBezTo>
                  <a:pt x="68" y="299"/>
                  <a:pt x="74" y="296"/>
                  <a:pt x="74" y="295"/>
                </a:cubicBezTo>
                <a:cubicBezTo>
                  <a:pt x="73" y="293"/>
                  <a:pt x="61" y="292"/>
                  <a:pt x="61" y="289"/>
                </a:cubicBezTo>
                <a:cubicBezTo>
                  <a:pt x="61" y="286"/>
                  <a:pt x="61" y="285"/>
                  <a:pt x="66" y="284"/>
                </a:cubicBezTo>
                <a:cubicBezTo>
                  <a:pt x="70" y="284"/>
                  <a:pt x="87" y="278"/>
                  <a:pt x="90" y="277"/>
                </a:cubicBezTo>
                <a:cubicBezTo>
                  <a:pt x="92" y="276"/>
                  <a:pt x="108" y="269"/>
                  <a:pt x="109" y="269"/>
                </a:cubicBezTo>
                <a:cubicBezTo>
                  <a:pt x="111" y="269"/>
                  <a:pt x="112" y="271"/>
                  <a:pt x="112" y="274"/>
                </a:cubicBezTo>
                <a:cubicBezTo>
                  <a:pt x="112" y="276"/>
                  <a:pt x="112" y="279"/>
                  <a:pt x="112" y="280"/>
                </a:cubicBezTo>
                <a:cubicBezTo>
                  <a:pt x="113" y="280"/>
                  <a:pt x="116" y="282"/>
                  <a:pt x="118" y="282"/>
                </a:cubicBezTo>
                <a:cubicBezTo>
                  <a:pt x="119" y="282"/>
                  <a:pt x="119" y="278"/>
                  <a:pt x="121" y="277"/>
                </a:cubicBezTo>
                <a:cubicBezTo>
                  <a:pt x="122" y="277"/>
                  <a:pt x="128" y="279"/>
                  <a:pt x="130" y="278"/>
                </a:cubicBezTo>
                <a:cubicBezTo>
                  <a:pt x="132" y="277"/>
                  <a:pt x="129" y="272"/>
                  <a:pt x="130" y="271"/>
                </a:cubicBezTo>
                <a:cubicBezTo>
                  <a:pt x="131" y="271"/>
                  <a:pt x="140" y="269"/>
                  <a:pt x="141" y="267"/>
                </a:cubicBezTo>
                <a:cubicBezTo>
                  <a:pt x="142" y="265"/>
                  <a:pt x="139" y="263"/>
                  <a:pt x="140" y="261"/>
                </a:cubicBezTo>
                <a:cubicBezTo>
                  <a:pt x="141" y="260"/>
                  <a:pt x="145" y="259"/>
                  <a:pt x="144" y="257"/>
                </a:cubicBezTo>
                <a:cubicBezTo>
                  <a:pt x="142" y="255"/>
                  <a:pt x="139" y="256"/>
                  <a:pt x="138" y="256"/>
                </a:cubicBezTo>
                <a:cubicBezTo>
                  <a:pt x="137" y="256"/>
                  <a:pt x="132" y="259"/>
                  <a:pt x="131" y="259"/>
                </a:cubicBezTo>
                <a:cubicBezTo>
                  <a:pt x="130" y="260"/>
                  <a:pt x="134" y="262"/>
                  <a:pt x="132" y="264"/>
                </a:cubicBezTo>
                <a:cubicBezTo>
                  <a:pt x="129" y="266"/>
                  <a:pt x="119" y="273"/>
                  <a:pt x="118" y="272"/>
                </a:cubicBezTo>
                <a:cubicBezTo>
                  <a:pt x="117" y="271"/>
                  <a:pt x="118" y="266"/>
                  <a:pt x="116" y="265"/>
                </a:cubicBezTo>
                <a:cubicBezTo>
                  <a:pt x="114" y="263"/>
                  <a:pt x="111" y="264"/>
                  <a:pt x="111" y="263"/>
                </a:cubicBezTo>
                <a:cubicBezTo>
                  <a:pt x="111" y="258"/>
                  <a:pt x="119" y="259"/>
                  <a:pt x="120" y="257"/>
                </a:cubicBezTo>
                <a:cubicBezTo>
                  <a:pt x="121" y="256"/>
                  <a:pt x="122" y="251"/>
                  <a:pt x="123" y="250"/>
                </a:cubicBezTo>
                <a:cubicBezTo>
                  <a:pt x="124" y="248"/>
                  <a:pt x="138" y="236"/>
                  <a:pt x="140" y="235"/>
                </a:cubicBezTo>
                <a:cubicBezTo>
                  <a:pt x="143" y="235"/>
                  <a:pt x="150" y="234"/>
                  <a:pt x="151" y="233"/>
                </a:cubicBezTo>
                <a:cubicBezTo>
                  <a:pt x="153" y="232"/>
                  <a:pt x="152" y="229"/>
                  <a:pt x="151" y="228"/>
                </a:cubicBezTo>
                <a:cubicBezTo>
                  <a:pt x="150" y="227"/>
                  <a:pt x="143" y="229"/>
                  <a:pt x="142" y="229"/>
                </a:cubicBezTo>
                <a:cubicBezTo>
                  <a:pt x="142" y="229"/>
                  <a:pt x="134" y="228"/>
                  <a:pt x="135" y="226"/>
                </a:cubicBezTo>
                <a:cubicBezTo>
                  <a:pt x="136" y="223"/>
                  <a:pt x="139" y="220"/>
                  <a:pt x="141" y="220"/>
                </a:cubicBezTo>
                <a:cubicBezTo>
                  <a:pt x="142" y="220"/>
                  <a:pt x="147" y="223"/>
                  <a:pt x="149" y="222"/>
                </a:cubicBezTo>
                <a:cubicBezTo>
                  <a:pt x="151" y="221"/>
                  <a:pt x="159" y="215"/>
                  <a:pt x="160" y="213"/>
                </a:cubicBezTo>
                <a:cubicBezTo>
                  <a:pt x="160" y="211"/>
                  <a:pt x="160" y="205"/>
                  <a:pt x="161" y="204"/>
                </a:cubicBezTo>
                <a:cubicBezTo>
                  <a:pt x="162" y="203"/>
                  <a:pt x="164" y="203"/>
                  <a:pt x="164" y="205"/>
                </a:cubicBezTo>
                <a:cubicBezTo>
                  <a:pt x="164" y="206"/>
                  <a:pt x="167" y="209"/>
                  <a:pt x="168" y="208"/>
                </a:cubicBezTo>
                <a:cubicBezTo>
                  <a:pt x="170" y="208"/>
                  <a:pt x="170" y="208"/>
                  <a:pt x="171" y="206"/>
                </a:cubicBezTo>
                <a:cubicBezTo>
                  <a:pt x="171" y="205"/>
                  <a:pt x="169" y="198"/>
                  <a:pt x="168" y="197"/>
                </a:cubicBezTo>
                <a:cubicBezTo>
                  <a:pt x="167" y="196"/>
                  <a:pt x="164" y="193"/>
                  <a:pt x="165" y="191"/>
                </a:cubicBezTo>
                <a:cubicBezTo>
                  <a:pt x="165" y="189"/>
                  <a:pt x="168" y="187"/>
                  <a:pt x="170" y="186"/>
                </a:cubicBezTo>
                <a:cubicBezTo>
                  <a:pt x="172" y="186"/>
                  <a:pt x="181" y="183"/>
                  <a:pt x="183" y="183"/>
                </a:cubicBezTo>
                <a:cubicBezTo>
                  <a:pt x="184" y="183"/>
                  <a:pt x="183" y="187"/>
                  <a:pt x="187" y="186"/>
                </a:cubicBezTo>
                <a:cubicBezTo>
                  <a:pt x="190" y="185"/>
                  <a:pt x="196" y="179"/>
                  <a:pt x="195" y="177"/>
                </a:cubicBezTo>
                <a:cubicBezTo>
                  <a:pt x="193" y="175"/>
                  <a:pt x="179" y="178"/>
                  <a:pt x="177" y="178"/>
                </a:cubicBezTo>
                <a:cubicBezTo>
                  <a:pt x="176" y="178"/>
                  <a:pt x="171" y="180"/>
                  <a:pt x="171" y="179"/>
                </a:cubicBezTo>
                <a:cubicBezTo>
                  <a:pt x="171" y="177"/>
                  <a:pt x="176" y="171"/>
                  <a:pt x="178" y="171"/>
                </a:cubicBezTo>
                <a:cubicBezTo>
                  <a:pt x="179" y="170"/>
                  <a:pt x="181" y="168"/>
                  <a:pt x="181" y="166"/>
                </a:cubicBezTo>
                <a:cubicBezTo>
                  <a:pt x="181" y="164"/>
                  <a:pt x="181" y="162"/>
                  <a:pt x="182" y="161"/>
                </a:cubicBezTo>
                <a:cubicBezTo>
                  <a:pt x="183" y="160"/>
                  <a:pt x="189" y="163"/>
                  <a:pt x="191" y="163"/>
                </a:cubicBezTo>
                <a:cubicBezTo>
                  <a:pt x="194" y="163"/>
                  <a:pt x="195" y="161"/>
                  <a:pt x="195" y="160"/>
                </a:cubicBezTo>
                <a:cubicBezTo>
                  <a:pt x="195" y="159"/>
                  <a:pt x="189" y="157"/>
                  <a:pt x="189" y="155"/>
                </a:cubicBezTo>
                <a:cubicBezTo>
                  <a:pt x="189" y="154"/>
                  <a:pt x="192" y="154"/>
                  <a:pt x="192" y="154"/>
                </a:cubicBezTo>
                <a:cubicBezTo>
                  <a:pt x="193" y="154"/>
                  <a:pt x="194" y="153"/>
                  <a:pt x="194" y="152"/>
                </a:cubicBezTo>
                <a:cubicBezTo>
                  <a:pt x="196" y="149"/>
                  <a:pt x="196" y="148"/>
                  <a:pt x="197" y="148"/>
                </a:cubicBezTo>
                <a:cubicBezTo>
                  <a:pt x="197" y="148"/>
                  <a:pt x="209" y="147"/>
                  <a:pt x="211" y="148"/>
                </a:cubicBezTo>
                <a:cubicBezTo>
                  <a:pt x="213" y="149"/>
                  <a:pt x="217" y="150"/>
                  <a:pt x="217" y="149"/>
                </a:cubicBezTo>
                <a:cubicBezTo>
                  <a:pt x="218" y="148"/>
                  <a:pt x="217" y="146"/>
                  <a:pt x="215" y="144"/>
                </a:cubicBezTo>
                <a:cubicBezTo>
                  <a:pt x="213" y="142"/>
                  <a:pt x="211" y="141"/>
                  <a:pt x="208" y="141"/>
                </a:cubicBezTo>
                <a:cubicBezTo>
                  <a:pt x="206" y="141"/>
                  <a:pt x="201" y="141"/>
                  <a:pt x="201" y="139"/>
                </a:cubicBezTo>
                <a:cubicBezTo>
                  <a:pt x="201" y="137"/>
                  <a:pt x="209" y="133"/>
                  <a:pt x="211" y="133"/>
                </a:cubicBezTo>
                <a:cubicBezTo>
                  <a:pt x="212" y="133"/>
                  <a:pt x="219" y="129"/>
                  <a:pt x="220" y="128"/>
                </a:cubicBezTo>
                <a:cubicBezTo>
                  <a:pt x="222" y="128"/>
                  <a:pt x="221" y="126"/>
                  <a:pt x="219" y="125"/>
                </a:cubicBezTo>
                <a:cubicBezTo>
                  <a:pt x="216" y="125"/>
                  <a:pt x="208" y="129"/>
                  <a:pt x="207" y="127"/>
                </a:cubicBezTo>
                <a:cubicBezTo>
                  <a:pt x="206" y="126"/>
                  <a:pt x="210" y="121"/>
                  <a:pt x="213" y="119"/>
                </a:cubicBezTo>
                <a:cubicBezTo>
                  <a:pt x="215" y="117"/>
                  <a:pt x="219" y="113"/>
                  <a:pt x="221" y="113"/>
                </a:cubicBezTo>
                <a:cubicBezTo>
                  <a:pt x="222" y="113"/>
                  <a:pt x="227" y="110"/>
                  <a:pt x="227" y="112"/>
                </a:cubicBezTo>
                <a:cubicBezTo>
                  <a:pt x="228" y="114"/>
                  <a:pt x="227" y="120"/>
                  <a:pt x="230" y="120"/>
                </a:cubicBezTo>
                <a:cubicBezTo>
                  <a:pt x="236" y="120"/>
                  <a:pt x="233" y="112"/>
                  <a:pt x="233" y="110"/>
                </a:cubicBezTo>
                <a:cubicBezTo>
                  <a:pt x="232" y="107"/>
                  <a:pt x="233" y="106"/>
                  <a:pt x="235" y="106"/>
                </a:cubicBezTo>
                <a:cubicBezTo>
                  <a:pt x="237" y="105"/>
                  <a:pt x="240" y="107"/>
                  <a:pt x="242" y="106"/>
                </a:cubicBezTo>
                <a:cubicBezTo>
                  <a:pt x="244" y="105"/>
                  <a:pt x="251" y="102"/>
                  <a:pt x="250" y="99"/>
                </a:cubicBezTo>
                <a:cubicBezTo>
                  <a:pt x="249" y="97"/>
                  <a:pt x="245" y="100"/>
                  <a:pt x="242" y="100"/>
                </a:cubicBezTo>
                <a:cubicBezTo>
                  <a:pt x="239" y="100"/>
                  <a:pt x="235" y="99"/>
                  <a:pt x="233" y="100"/>
                </a:cubicBezTo>
                <a:cubicBezTo>
                  <a:pt x="230" y="101"/>
                  <a:pt x="222" y="105"/>
                  <a:pt x="220" y="106"/>
                </a:cubicBezTo>
                <a:cubicBezTo>
                  <a:pt x="219" y="107"/>
                  <a:pt x="211" y="109"/>
                  <a:pt x="209" y="110"/>
                </a:cubicBezTo>
                <a:cubicBezTo>
                  <a:pt x="207" y="112"/>
                  <a:pt x="199" y="111"/>
                  <a:pt x="197" y="112"/>
                </a:cubicBezTo>
                <a:cubicBezTo>
                  <a:pt x="195" y="113"/>
                  <a:pt x="187" y="118"/>
                  <a:pt x="185" y="121"/>
                </a:cubicBezTo>
                <a:cubicBezTo>
                  <a:pt x="184" y="123"/>
                  <a:pt x="181" y="124"/>
                  <a:pt x="179" y="122"/>
                </a:cubicBezTo>
                <a:cubicBezTo>
                  <a:pt x="177" y="121"/>
                  <a:pt x="179" y="120"/>
                  <a:pt x="182" y="116"/>
                </a:cubicBezTo>
                <a:cubicBezTo>
                  <a:pt x="184" y="112"/>
                  <a:pt x="192" y="104"/>
                  <a:pt x="195" y="104"/>
                </a:cubicBezTo>
                <a:cubicBezTo>
                  <a:pt x="198" y="103"/>
                  <a:pt x="209" y="101"/>
                  <a:pt x="211" y="100"/>
                </a:cubicBezTo>
                <a:cubicBezTo>
                  <a:pt x="213" y="100"/>
                  <a:pt x="221" y="97"/>
                  <a:pt x="219" y="95"/>
                </a:cubicBezTo>
                <a:cubicBezTo>
                  <a:pt x="217" y="93"/>
                  <a:pt x="204" y="96"/>
                  <a:pt x="205" y="94"/>
                </a:cubicBezTo>
                <a:cubicBezTo>
                  <a:pt x="205" y="92"/>
                  <a:pt x="212" y="79"/>
                  <a:pt x="214" y="79"/>
                </a:cubicBezTo>
                <a:cubicBezTo>
                  <a:pt x="215" y="79"/>
                  <a:pt x="218" y="85"/>
                  <a:pt x="219" y="85"/>
                </a:cubicBezTo>
                <a:cubicBezTo>
                  <a:pt x="220" y="84"/>
                  <a:pt x="227" y="72"/>
                  <a:pt x="228" y="71"/>
                </a:cubicBezTo>
                <a:cubicBezTo>
                  <a:pt x="229" y="70"/>
                  <a:pt x="231" y="69"/>
                  <a:pt x="231" y="69"/>
                </a:cubicBezTo>
                <a:cubicBezTo>
                  <a:pt x="232" y="69"/>
                  <a:pt x="232" y="73"/>
                  <a:pt x="231" y="76"/>
                </a:cubicBezTo>
                <a:cubicBezTo>
                  <a:pt x="230" y="78"/>
                  <a:pt x="227" y="87"/>
                  <a:pt x="228" y="88"/>
                </a:cubicBezTo>
                <a:cubicBezTo>
                  <a:pt x="230" y="88"/>
                  <a:pt x="235" y="80"/>
                  <a:pt x="236" y="81"/>
                </a:cubicBezTo>
                <a:cubicBezTo>
                  <a:pt x="237" y="82"/>
                  <a:pt x="235" y="93"/>
                  <a:pt x="237" y="93"/>
                </a:cubicBezTo>
                <a:cubicBezTo>
                  <a:pt x="239" y="93"/>
                  <a:pt x="243" y="92"/>
                  <a:pt x="245" y="90"/>
                </a:cubicBezTo>
                <a:cubicBezTo>
                  <a:pt x="248" y="88"/>
                  <a:pt x="248" y="85"/>
                  <a:pt x="248" y="82"/>
                </a:cubicBezTo>
                <a:cubicBezTo>
                  <a:pt x="249" y="80"/>
                  <a:pt x="242" y="80"/>
                  <a:pt x="242" y="77"/>
                </a:cubicBezTo>
                <a:cubicBezTo>
                  <a:pt x="241" y="74"/>
                  <a:pt x="240" y="71"/>
                  <a:pt x="242" y="69"/>
                </a:cubicBezTo>
                <a:cubicBezTo>
                  <a:pt x="245" y="66"/>
                  <a:pt x="249" y="62"/>
                  <a:pt x="252" y="62"/>
                </a:cubicBezTo>
                <a:cubicBezTo>
                  <a:pt x="255" y="62"/>
                  <a:pt x="257" y="60"/>
                  <a:pt x="259" y="58"/>
                </a:cubicBezTo>
                <a:cubicBezTo>
                  <a:pt x="261" y="56"/>
                  <a:pt x="266" y="52"/>
                  <a:pt x="266" y="50"/>
                </a:cubicBezTo>
                <a:cubicBezTo>
                  <a:pt x="266" y="47"/>
                  <a:pt x="263" y="47"/>
                  <a:pt x="265" y="44"/>
                </a:cubicBezTo>
                <a:cubicBezTo>
                  <a:pt x="267" y="41"/>
                  <a:pt x="271" y="37"/>
                  <a:pt x="272" y="38"/>
                </a:cubicBezTo>
                <a:cubicBezTo>
                  <a:pt x="273" y="38"/>
                  <a:pt x="281" y="43"/>
                  <a:pt x="278" y="48"/>
                </a:cubicBezTo>
                <a:cubicBezTo>
                  <a:pt x="276" y="50"/>
                  <a:pt x="277" y="60"/>
                  <a:pt x="279" y="61"/>
                </a:cubicBezTo>
                <a:cubicBezTo>
                  <a:pt x="281" y="61"/>
                  <a:pt x="286" y="50"/>
                  <a:pt x="287" y="49"/>
                </a:cubicBezTo>
                <a:cubicBezTo>
                  <a:pt x="289" y="40"/>
                  <a:pt x="301" y="51"/>
                  <a:pt x="305" y="50"/>
                </a:cubicBezTo>
                <a:cubicBezTo>
                  <a:pt x="306" y="50"/>
                  <a:pt x="306" y="47"/>
                  <a:pt x="307" y="46"/>
                </a:cubicBezTo>
                <a:cubicBezTo>
                  <a:pt x="307" y="46"/>
                  <a:pt x="306" y="43"/>
                  <a:pt x="303" y="42"/>
                </a:cubicBezTo>
                <a:cubicBezTo>
                  <a:pt x="301" y="41"/>
                  <a:pt x="298" y="40"/>
                  <a:pt x="297" y="38"/>
                </a:cubicBezTo>
                <a:cubicBezTo>
                  <a:pt x="296" y="37"/>
                  <a:pt x="299" y="35"/>
                  <a:pt x="300" y="34"/>
                </a:cubicBezTo>
                <a:cubicBezTo>
                  <a:pt x="301" y="33"/>
                  <a:pt x="301" y="32"/>
                  <a:pt x="303" y="32"/>
                </a:cubicBezTo>
                <a:cubicBezTo>
                  <a:pt x="304" y="33"/>
                  <a:pt x="311" y="37"/>
                  <a:pt x="313" y="37"/>
                </a:cubicBezTo>
                <a:cubicBezTo>
                  <a:pt x="315" y="37"/>
                  <a:pt x="319" y="40"/>
                  <a:pt x="319" y="42"/>
                </a:cubicBezTo>
                <a:cubicBezTo>
                  <a:pt x="319" y="43"/>
                  <a:pt x="320" y="49"/>
                  <a:pt x="325" y="47"/>
                </a:cubicBezTo>
                <a:cubicBezTo>
                  <a:pt x="326" y="46"/>
                  <a:pt x="329" y="46"/>
                  <a:pt x="329" y="45"/>
                </a:cubicBezTo>
                <a:cubicBezTo>
                  <a:pt x="328" y="43"/>
                  <a:pt x="325" y="42"/>
                  <a:pt x="325" y="40"/>
                </a:cubicBezTo>
                <a:cubicBezTo>
                  <a:pt x="325" y="39"/>
                  <a:pt x="325" y="37"/>
                  <a:pt x="323" y="35"/>
                </a:cubicBezTo>
                <a:cubicBezTo>
                  <a:pt x="321" y="34"/>
                  <a:pt x="318" y="33"/>
                  <a:pt x="318" y="31"/>
                </a:cubicBezTo>
                <a:cubicBezTo>
                  <a:pt x="319" y="29"/>
                  <a:pt x="323" y="27"/>
                  <a:pt x="325" y="25"/>
                </a:cubicBezTo>
                <a:cubicBezTo>
                  <a:pt x="326" y="23"/>
                  <a:pt x="327" y="18"/>
                  <a:pt x="329" y="19"/>
                </a:cubicBezTo>
                <a:cubicBezTo>
                  <a:pt x="330" y="20"/>
                  <a:pt x="333" y="24"/>
                  <a:pt x="335" y="22"/>
                </a:cubicBezTo>
                <a:cubicBezTo>
                  <a:pt x="336" y="21"/>
                  <a:pt x="337" y="18"/>
                  <a:pt x="337" y="17"/>
                </a:cubicBezTo>
                <a:cubicBezTo>
                  <a:pt x="336" y="16"/>
                  <a:pt x="333" y="15"/>
                  <a:pt x="334" y="14"/>
                </a:cubicBezTo>
                <a:cubicBezTo>
                  <a:pt x="335" y="13"/>
                  <a:pt x="336" y="8"/>
                  <a:pt x="338" y="9"/>
                </a:cubicBezTo>
                <a:cubicBezTo>
                  <a:pt x="341" y="10"/>
                  <a:pt x="342" y="15"/>
                  <a:pt x="346" y="11"/>
                </a:cubicBezTo>
                <a:cubicBezTo>
                  <a:pt x="347" y="10"/>
                  <a:pt x="345" y="5"/>
                  <a:pt x="347" y="4"/>
                </a:cubicBezTo>
                <a:cubicBezTo>
                  <a:pt x="348" y="2"/>
                  <a:pt x="351" y="0"/>
                  <a:pt x="353" y="1"/>
                </a:cubicBezTo>
                <a:cubicBezTo>
                  <a:pt x="354" y="2"/>
                  <a:pt x="357" y="6"/>
                  <a:pt x="357" y="6"/>
                </a:cubicBezTo>
                <a:cubicBezTo>
                  <a:pt x="357" y="7"/>
                  <a:pt x="355" y="11"/>
                  <a:pt x="354" y="12"/>
                </a:cubicBezTo>
                <a:cubicBezTo>
                  <a:pt x="353" y="13"/>
                  <a:pt x="346" y="22"/>
                  <a:pt x="346" y="24"/>
                </a:cubicBezTo>
                <a:cubicBezTo>
                  <a:pt x="345" y="26"/>
                  <a:pt x="344" y="28"/>
                  <a:pt x="345" y="29"/>
                </a:cubicBezTo>
                <a:cubicBezTo>
                  <a:pt x="346" y="29"/>
                  <a:pt x="347" y="31"/>
                  <a:pt x="346" y="33"/>
                </a:cubicBezTo>
                <a:cubicBezTo>
                  <a:pt x="345" y="35"/>
                  <a:pt x="343" y="43"/>
                  <a:pt x="346" y="42"/>
                </a:cubicBezTo>
                <a:cubicBezTo>
                  <a:pt x="349" y="42"/>
                  <a:pt x="352" y="36"/>
                  <a:pt x="353" y="34"/>
                </a:cubicBezTo>
                <a:cubicBezTo>
                  <a:pt x="353" y="33"/>
                  <a:pt x="355" y="25"/>
                  <a:pt x="356" y="23"/>
                </a:cubicBezTo>
                <a:cubicBezTo>
                  <a:pt x="357" y="21"/>
                  <a:pt x="362" y="9"/>
                  <a:pt x="363" y="9"/>
                </a:cubicBezTo>
                <a:cubicBezTo>
                  <a:pt x="364" y="9"/>
                  <a:pt x="365" y="11"/>
                  <a:pt x="365" y="14"/>
                </a:cubicBezTo>
                <a:cubicBezTo>
                  <a:pt x="365" y="16"/>
                  <a:pt x="364" y="30"/>
                  <a:pt x="365" y="30"/>
                </a:cubicBezTo>
                <a:cubicBezTo>
                  <a:pt x="367" y="29"/>
                  <a:pt x="369" y="23"/>
                  <a:pt x="371" y="21"/>
                </a:cubicBezTo>
                <a:cubicBezTo>
                  <a:pt x="373" y="19"/>
                  <a:pt x="374" y="13"/>
                  <a:pt x="374" y="12"/>
                </a:cubicBezTo>
                <a:cubicBezTo>
                  <a:pt x="374" y="11"/>
                  <a:pt x="369" y="11"/>
                  <a:pt x="370" y="7"/>
                </a:cubicBezTo>
                <a:cubicBezTo>
                  <a:pt x="371" y="4"/>
                  <a:pt x="374" y="2"/>
                  <a:pt x="376" y="2"/>
                </a:cubicBezTo>
                <a:cubicBezTo>
                  <a:pt x="378" y="2"/>
                  <a:pt x="385" y="2"/>
                  <a:pt x="385" y="4"/>
                </a:cubicBezTo>
                <a:cubicBezTo>
                  <a:pt x="386" y="6"/>
                  <a:pt x="385" y="10"/>
                  <a:pt x="384" y="11"/>
                </a:cubicBezTo>
                <a:cubicBezTo>
                  <a:pt x="383" y="12"/>
                  <a:pt x="383" y="15"/>
                  <a:pt x="383" y="16"/>
                </a:cubicBezTo>
                <a:cubicBezTo>
                  <a:pt x="382" y="18"/>
                  <a:pt x="378" y="22"/>
                  <a:pt x="380" y="24"/>
                </a:cubicBezTo>
                <a:cubicBezTo>
                  <a:pt x="381" y="27"/>
                  <a:pt x="388" y="25"/>
                  <a:pt x="389" y="24"/>
                </a:cubicBezTo>
                <a:cubicBezTo>
                  <a:pt x="391" y="23"/>
                  <a:pt x="389" y="20"/>
                  <a:pt x="389" y="18"/>
                </a:cubicBezTo>
                <a:cubicBezTo>
                  <a:pt x="389" y="16"/>
                  <a:pt x="389" y="9"/>
                  <a:pt x="392" y="8"/>
                </a:cubicBezTo>
                <a:cubicBezTo>
                  <a:pt x="394" y="8"/>
                  <a:pt x="396" y="8"/>
                  <a:pt x="396" y="10"/>
                </a:cubicBezTo>
                <a:cubicBezTo>
                  <a:pt x="396" y="12"/>
                  <a:pt x="397" y="17"/>
                  <a:pt x="399" y="16"/>
                </a:cubicBezTo>
                <a:cubicBezTo>
                  <a:pt x="401" y="16"/>
                  <a:pt x="402" y="12"/>
                  <a:pt x="403" y="12"/>
                </a:cubicBezTo>
                <a:cubicBezTo>
                  <a:pt x="405" y="12"/>
                  <a:pt x="408" y="14"/>
                  <a:pt x="409" y="15"/>
                </a:cubicBezTo>
                <a:cubicBezTo>
                  <a:pt x="411" y="16"/>
                  <a:pt x="415" y="19"/>
                  <a:pt x="416" y="20"/>
                </a:cubicBezTo>
                <a:cubicBezTo>
                  <a:pt x="417" y="22"/>
                  <a:pt x="421" y="18"/>
                  <a:pt x="422" y="20"/>
                </a:cubicBezTo>
                <a:cubicBezTo>
                  <a:pt x="423" y="22"/>
                  <a:pt x="425" y="25"/>
                  <a:pt x="423" y="25"/>
                </a:cubicBezTo>
                <a:cubicBezTo>
                  <a:pt x="422" y="26"/>
                  <a:pt x="413" y="34"/>
                  <a:pt x="411" y="34"/>
                </a:cubicBezTo>
                <a:cubicBezTo>
                  <a:pt x="409" y="34"/>
                  <a:pt x="396" y="32"/>
                  <a:pt x="394" y="32"/>
                </a:cubicBezTo>
                <a:cubicBezTo>
                  <a:pt x="391" y="33"/>
                  <a:pt x="391" y="35"/>
                  <a:pt x="391" y="36"/>
                </a:cubicBezTo>
                <a:cubicBezTo>
                  <a:pt x="391" y="38"/>
                  <a:pt x="394" y="39"/>
                  <a:pt x="397" y="39"/>
                </a:cubicBezTo>
                <a:cubicBezTo>
                  <a:pt x="399" y="40"/>
                  <a:pt x="407" y="40"/>
                  <a:pt x="409" y="41"/>
                </a:cubicBezTo>
                <a:cubicBezTo>
                  <a:pt x="411" y="41"/>
                  <a:pt x="428" y="45"/>
                  <a:pt x="430" y="45"/>
                </a:cubicBezTo>
                <a:cubicBezTo>
                  <a:pt x="430" y="45"/>
                  <a:pt x="430" y="45"/>
                  <a:pt x="431" y="45"/>
                </a:cubicBezTo>
                <a:cubicBezTo>
                  <a:pt x="431" y="46"/>
                  <a:pt x="431" y="47"/>
                  <a:pt x="431" y="48"/>
                </a:cubicBezTo>
                <a:cubicBezTo>
                  <a:pt x="429" y="54"/>
                  <a:pt x="425" y="52"/>
                  <a:pt x="421" y="53"/>
                </a:cubicBezTo>
                <a:cubicBezTo>
                  <a:pt x="421" y="53"/>
                  <a:pt x="418" y="62"/>
                  <a:pt x="416" y="67"/>
                </a:cubicBezTo>
                <a:cubicBezTo>
                  <a:pt x="415" y="70"/>
                  <a:pt x="412" y="75"/>
                  <a:pt x="409" y="77"/>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39" name="Freeform 135"/>
          <p:cNvSpPr>
            <a:spLocks/>
          </p:cNvSpPr>
          <p:nvPr>
            <p:custDataLst>
              <p:tags r:id="rId18"/>
            </p:custDataLst>
          </p:nvPr>
        </p:nvSpPr>
        <p:spPr bwMode="gray">
          <a:xfrm>
            <a:off x="4128802" y="2517660"/>
            <a:ext cx="440681" cy="276551"/>
          </a:xfrm>
          <a:custGeom>
            <a:avLst/>
            <a:gdLst>
              <a:gd name="T0" fmla="*/ 122 w 122"/>
              <a:gd name="T1" fmla="*/ 40 h 103"/>
              <a:gd name="T2" fmla="*/ 115 w 122"/>
              <a:gd name="T3" fmla="*/ 51 h 103"/>
              <a:gd name="T4" fmla="*/ 105 w 122"/>
              <a:gd name="T5" fmla="*/ 64 h 103"/>
              <a:gd name="T6" fmla="*/ 92 w 122"/>
              <a:gd name="T7" fmla="*/ 86 h 103"/>
              <a:gd name="T8" fmla="*/ 75 w 122"/>
              <a:gd name="T9" fmla="*/ 99 h 103"/>
              <a:gd name="T10" fmla="*/ 56 w 122"/>
              <a:gd name="T11" fmla="*/ 99 h 103"/>
              <a:gd name="T12" fmla="*/ 48 w 122"/>
              <a:gd name="T13" fmla="*/ 84 h 103"/>
              <a:gd name="T14" fmla="*/ 36 w 122"/>
              <a:gd name="T15" fmla="*/ 73 h 103"/>
              <a:gd name="T16" fmla="*/ 37 w 122"/>
              <a:gd name="T17" fmla="*/ 61 h 103"/>
              <a:gd name="T18" fmla="*/ 20 w 122"/>
              <a:gd name="T19" fmla="*/ 56 h 103"/>
              <a:gd name="T20" fmla="*/ 0 w 122"/>
              <a:gd name="T21" fmla="*/ 46 h 103"/>
              <a:gd name="T22" fmla="*/ 2 w 122"/>
              <a:gd name="T23" fmla="*/ 40 h 103"/>
              <a:gd name="T24" fmla="*/ 1 w 122"/>
              <a:gd name="T25" fmla="*/ 24 h 103"/>
              <a:gd name="T26" fmla="*/ 0 w 122"/>
              <a:gd name="T27" fmla="*/ 15 h 103"/>
              <a:gd name="T28" fmla="*/ 14 w 122"/>
              <a:gd name="T29" fmla="*/ 11 h 103"/>
              <a:gd name="T30" fmla="*/ 32 w 122"/>
              <a:gd name="T31" fmla="*/ 7 h 103"/>
              <a:gd name="T32" fmla="*/ 64 w 122"/>
              <a:gd name="T33" fmla="*/ 9 h 103"/>
              <a:gd name="T34" fmla="*/ 78 w 122"/>
              <a:gd name="T35" fmla="*/ 1 h 103"/>
              <a:gd name="T36" fmla="*/ 86 w 122"/>
              <a:gd name="T37" fmla="*/ 11 h 103"/>
              <a:gd name="T38" fmla="*/ 98 w 122"/>
              <a:gd name="T39" fmla="*/ 14 h 103"/>
              <a:gd name="T40" fmla="*/ 110 w 122"/>
              <a:gd name="T41" fmla="*/ 25 h 103"/>
              <a:gd name="T42" fmla="*/ 120 w 122"/>
              <a:gd name="T43" fmla="*/ 28 h 103"/>
              <a:gd name="T44" fmla="*/ 122 w 122"/>
              <a:gd name="T45" fmla="*/ 4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103">
                <a:moveTo>
                  <a:pt x="122" y="40"/>
                </a:moveTo>
                <a:cubicBezTo>
                  <a:pt x="122" y="40"/>
                  <a:pt x="120" y="49"/>
                  <a:pt x="115" y="51"/>
                </a:cubicBezTo>
                <a:cubicBezTo>
                  <a:pt x="110" y="52"/>
                  <a:pt x="106" y="60"/>
                  <a:pt x="105" y="64"/>
                </a:cubicBezTo>
                <a:cubicBezTo>
                  <a:pt x="104" y="68"/>
                  <a:pt x="98" y="83"/>
                  <a:pt x="92" y="86"/>
                </a:cubicBezTo>
                <a:cubicBezTo>
                  <a:pt x="87" y="89"/>
                  <a:pt x="75" y="99"/>
                  <a:pt x="75" y="99"/>
                </a:cubicBezTo>
                <a:cubicBezTo>
                  <a:pt x="71" y="103"/>
                  <a:pt x="56" y="99"/>
                  <a:pt x="56" y="99"/>
                </a:cubicBezTo>
                <a:cubicBezTo>
                  <a:pt x="56" y="93"/>
                  <a:pt x="56" y="87"/>
                  <a:pt x="48" y="84"/>
                </a:cubicBezTo>
                <a:cubicBezTo>
                  <a:pt x="40" y="82"/>
                  <a:pt x="36" y="76"/>
                  <a:pt x="36" y="73"/>
                </a:cubicBezTo>
                <a:cubicBezTo>
                  <a:pt x="36" y="71"/>
                  <a:pt x="40" y="65"/>
                  <a:pt x="37" y="61"/>
                </a:cubicBezTo>
                <a:cubicBezTo>
                  <a:pt x="34" y="57"/>
                  <a:pt x="27" y="60"/>
                  <a:pt x="20" y="56"/>
                </a:cubicBezTo>
                <a:cubicBezTo>
                  <a:pt x="16" y="54"/>
                  <a:pt x="8" y="50"/>
                  <a:pt x="0" y="46"/>
                </a:cubicBezTo>
                <a:cubicBezTo>
                  <a:pt x="1" y="44"/>
                  <a:pt x="2" y="42"/>
                  <a:pt x="2" y="40"/>
                </a:cubicBezTo>
                <a:cubicBezTo>
                  <a:pt x="2" y="36"/>
                  <a:pt x="2" y="30"/>
                  <a:pt x="1" y="24"/>
                </a:cubicBezTo>
                <a:cubicBezTo>
                  <a:pt x="1" y="21"/>
                  <a:pt x="0" y="18"/>
                  <a:pt x="0" y="15"/>
                </a:cubicBezTo>
                <a:cubicBezTo>
                  <a:pt x="6" y="14"/>
                  <a:pt x="12" y="12"/>
                  <a:pt x="14" y="11"/>
                </a:cubicBezTo>
                <a:cubicBezTo>
                  <a:pt x="18" y="10"/>
                  <a:pt x="26" y="7"/>
                  <a:pt x="32" y="7"/>
                </a:cubicBezTo>
                <a:cubicBezTo>
                  <a:pt x="38" y="7"/>
                  <a:pt x="60" y="8"/>
                  <a:pt x="64" y="9"/>
                </a:cubicBezTo>
                <a:cubicBezTo>
                  <a:pt x="68" y="10"/>
                  <a:pt x="76" y="0"/>
                  <a:pt x="78" y="1"/>
                </a:cubicBezTo>
                <a:cubicBezTo>
                  <a:pt x="82" y="2"/>
                  <a:pt x="86" y="11"/>
                  <a:pt x="86" y="11"/>
                </a:cubicBezTo>
                <a:cubicBezTo>
                  <a:pt x="86" y="11"/>
                  <a:pt x="94" y="12"/>
                  <a:pt x="98" y="14"/>
                </a:cubicBezTo>
                <a:cubicBezTo>
                  <a:pt x="104" y="15"/>
                  <a:pt x="106" y="22"/>
                  <a:pt x="110" y="25"/>
                </a:cubicBezTo>
                <a:cubicBezTo>
                  <a:pt x="120" y="28"/>
                  <a:pt x="120" y="28"/>
                  <a:pt x="120" y="28"/>
                </a:cubicBezTo>
                <a:cubicBezTo>
                  <a:pt x="118" y="31"/>
                  <a:pt x="122" y="40"/>
                  <a:pt x="122" y="4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40" name="Freeform 136"/>
          <p:cNvSpPr>
            <a:spLocks/>
          </p:cNvSpPr>
          <p:nvPr>
            <p:custDataLst>
              <p:tags r:id="rId19"/>
            </p:custDataLst>
          </p:nvPr>
        </p:nvSpPr>
        <p:spPr bwMode="gray">
          <a:xfrm>
            <a:off x="3570765" y="2639980"/>
            <a:ext cx="840646" cy="618693"/>
          </a:xfrm>
          <a:custGeom>
            <a:avLst/>
            <a:gdLst>
              <a:gd name="T0" fmla="*/ 227 w 232"/>
              <a:gd name="T1" fmla="*/ 161 h 231"/>
              <a:gd name="T2" fmla="*/ 232 w 232"/>
              <a:gd name="T3" fmla="*/ 178 h 231"/>
              <a:gd name="T4" fmla="*/ 219 w 232"/>
              <a:gd name="T5" fmla="*/ 184 h 231"/>
              <a:gd name="T6" fmla="*/ 201 w 232"/>
              <a:gd name="T7" fmla="*/ 210 h 231"/>
              <a:gd name="T8" fmla="*/ 202 w 232"/>
              <a:gd name="T9" fmla="*/ 231 h 231"/>
              <a:gd name="T10" fmla="*/ 186 w 232"/>
              <a:gd name="T11" fmla="*/ 228 h 231"/>
              <a:gd name="T12" fmla="*/ 168 w 232"/>
              <a:gd name="T13" fmla="*/ 219 h 231"/>
              <a:gd name="T14" fmla="*/ 146 w 232"/>
              <a:gd name="T15" fmla="*/ 222 h 231"/>
              <a:gd name="T16" fmla="*/ 136 w 232"/>
              <a:gd name="T17" fmla="*/ 230 h 231"/>
              <a:gd name="T18" fmla="*/ 128 w 232"/>
              <a:gd name="T19" fmla="*/ 231 h 231"/>
              <a:gd name="T20" fmla="*/ 127 w 232"/>
              <a:gd name="T21" fmla="*/ 223 h 231"/>
              <a:gd name="T22" fmla="*/ 118 w 232"/>
              <a:gd name="T23" fmla="*/ 215 h 231"/>
              <a:gd name="T24" fmla="*/ 106 w 232"/>
              <a:gd name="T25" fmla="*/ 216 h 231"/>
              <a:gd name="T26" fmla="*/ 102 w 232"/>
              <a:gd name="T27" fmla="*/ 206 h 231"/>
              <a:gd name="T28" fmla="*/ 96 w 232"/>
              <a:gd name="T29" fmla="*/ 200 h 231"/>
              <a:gd name="T30" fmla="*/ 82 w 232"/>
              <a:gd name="T31" fmla="*/ 197 h 231"/>
              <a:gd name="T32" fmla="*/ 79 w 232"/>
              <a:gd name="T33" fmla="*/ 186 h 231"/>
              <a:gd name="T34" fmla="*/ 60 w 232"/>
              <a:gd name="T35" fmla="*/ 181 h 231"/>
              <a:gd name="T36" fmla="*/ 54 w 232"/>
              <a:gd name="T37" fmla="*/ 194 h 231"/>
              <a:gd name="T38" fmla="*/ 42 w 232"/>
              <a:gd name="T39" fmla="*/ 178 h 231"/>
              <a:gd name="T40" fmla="*/ 42 w 232"/>
              <a:gd name="T41" fmla="*/ 169 h 231"/>
              <a:gd name="T42" fmla="*/ 18 w 232"/>
              <a:gd name="T43" fmla="*/ 158 h 231"/>
              <a:gd name="T44" fmla="*/ 16 w 232"/>
              <a:gd name="T45" fmla="*/ 141 h 231"/>
              <a:gd name="T46" fmla="*/ 12 w 232"/>
              <a:gd name="T47" fmla="*/ 120 h 231"/>
              <a:gd name="T48" fmla="*/ 12 w 232"/>
              <a:gd name="T49" fmla="*/ 96 h 231"/>
              <a:gd name="T50" fmla="*/ 2 w 232"/>
              <a:gd name="T51" fmla="*/ 86 h 231"/>
              <a:gd name="T52" fmla="*/ 10 w 232"/>
              <a:gd name="T53" fmla="*/ 73 h 231"/>
              <a:gd name="T54" fmla="*/ 12 w 232"/>
              <a:gd name="T55" fmla="*/ 47 h 231"/>
              <a:gd name="T56" fmla="*/ 15 w 232"/>
              <a:gd name="T57" fmla="*/ 46 h 231"/>
              <a:gd name="T58" fmla="*/ 47 w 232"/>
              <a:gd name="T59" fmla="*/ 39 h 231"/>
              <a:gd name="T60" fmla="*/ 58 w 232"/>
              <a:gd name="T61" fmla="*/ 29 h 231"/>
              <a:gd name="T62" fmla="*/ 67 w 232"/>
              <a:gd name="T63" fmla="*/ 27 h 231"/>
              <a:gd name="T64" fmla="*/ 76 w 232"/>
              <a:gd name="T65" fmla="*/ 21 h 231"/>
              <a:gd name="T66" fmla="*/ 98 w 232"/>
              <a:gd name="T67" fmla="*/ 20 h 231"/>
              <a:gd name="T68" fmla="*/ 100 w 232"/>
              <a:gd name="T69" fmla="*/ 25 h 231"/>
              <a:gd name="T70" fmla="*/ 103 w 232"/>
              <a:gd name="T71" fmla="*/ 35 h 231"/>
              <a:gd name="T72" fmla="*/ 116 w 232"/>
              <a:gd name="T73" fmla="*/ 38 h 231"/>
              <a:gd name="T74" fmla="*/ 132 w 232"/>
              <a:gd name="T75" fmla="*/ 25 h 231"/>
              <a:gd name="T76" fmla="*/ 133 w 232"/>
              <a:gd name="T77" fmla="*/ 15 h 231"/>
              <a:gd name="T78" fmla="*/ 147 w 232"/>
              <a:gd name="T79" fmla="*/ 12 h 231"/>
              <a:gd name="T80" fmla="*/ 154 w 232"/>
              <a:gd name="T81" fmla="*/ 0 h 231"/>
              <a:gd name="T82" fmla="*/ 174 w 232"/>
              <a:gd name="T83" fmla="*/ 10 h 231"/>
              <a:gd name="T84" fmla="*/ 191 w 232"/>
              <a:gd name="T85" fmla="*/ 15 h 231"/>
              <a:gd name="T86" fmla="*/ 190 w 232"/>
              <a:gd name="T87" fmla="*/ 27 h 231"/>
              <a:gd name="T88" fmla="*/ 202 w 232"/>
              <a:gd name="T89" fmla="*/ 38 h 231"/>
              <a:gd name="T90" fmla="*/ 210 w 232"/>
              <a:gd name="T91" fmla="*/ 53 h 231"/>
              <a:gd name="T92" fmla="*/ 219 w 232"/>
              <a:gd name="T93" fmla="*/ 78 h 231"/>
              <a:gd name="T94" fmla="*/ 222 w 232"/>
              <a:gd name="T95" fmla="*/ 97 h 231"/>
              <a:gd name="T96" fmla="*/ 210 w 232"/>
              <a:gd name="T97" fmla="*/ 102 h 231"/>
              <a:gd name="T98" fmla="*/ 206 w 232"/>
              <a:gd name="T99" fmla="*/ 114 h 231"/>
              <a:gd name="T100" fmla="*/ 216 w 232"/>
              <a:gd name="T101" fmla="*/ 124 h 231"/>
              <a:gd name="T102" fmla="*/ 216 w 232"/>
              <a:gd name="T103" fmla="*/ 136 h 231"/>
              <a:gd name="T104" fmla="*/ 216 w 232"/>
              <a:gd name="T105" fmla="*/ 140 h 231"/>
              <a:gd name="T106" fmla="*/ 227 w 232"/>
              <a:gd name="T107" fmla="*/ 16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31">
                <a:moveTo>
                  <a:pt x="227" y="161"/>
                </a:moveTo>
                <a:cubicBezTo>
                  <a:pt x="230" y="165"/>
                  <a:pt x="232" y="174"/>
                  <a:pt x="232" y="178"/>
                </a:cubicBezTo>
                <a:cubicBezTo>
                  <a:pt x="231" y="182"/>
                  <a:pt x="223" y="182"/>
                  <a:pt x="219" y="184"/>
                </a:cubicBezTo>
                <a:cubicBezTo>
                  <a:pt x="215" y="186"/>
                  <a:pt x="205" y="203"/>
                  <a:pt x="201" y="210"/>
                </a:cubicBezTo>
                <a:cubicBezTo>
                  <a:pt x="197" y="217"/>
                  <a:pt x="202" y="227"/>
                  <a:pt x="202" y="231"/>
                </a:cubicBezTo>
                <a:cubicBezTo>
                  <a:pt x="186" y="228"/>
                  <a:pt x="186" y="228"/>
                  <a:pt x="186" y="228"/>
                </a:cubicBezTo>
                <a:cubicBezTo>
                  <a:pt x="184" y="226"/>
                  <a:pt x="172" y="219"/>
                  <a:pt x="168" y="219"/>
                </a:cubicBezTo>
                <a:cubicBezTo>
                  <a:pt x="164" y="219"/>
                  <a:pt x="149" y="221"/>
                  <a:pt x="146" y="222"/>
                </a:cubicBezTo>
                <a:cubicBezTo>
                  <a:pt x="142" y="223"/>
                  <a:pt x="136" y="230"/>
                  <a:pt x="136" y="230"/>
                </a:cubicBezTo>
                <a:cubicBezTo>
                  <a:pt x="136" y="230"/>
                  <a:pt x="130" y="231"/>
                  <a:pt x="128" y="231"/>
                </a:cubicBezTo>
                <a:cubicBezTo>
                  <a:pt x="127" y="231"/>
                  <a:pt x="127" y="227"/>
                  <a:pt x="127" y="223"/>
                </a:cubicBezTo>
                <a:cubicBezTo>
                  <a:pt x="127" y="220"/>
                  <a:pt x="121" y="216"/>
                  <a:pt x="118" y="215"/>
                </a:cubicBezTo>
                <a:cubicBezTo>
                  <a:pt x="115" y="215"/>
                  <a:pt x="110" y="215"/>
                  <a:pt x="106" y="216"/>
                </a:cubicBezTo>
                <a:cubicBezTo>
                  <a:pt x="102" y="206"/>
                  <a:pt x="102" y="206"/>
                  <a:pt x="102" y="206"/>
                </a:cubicBezTo>
                <a:cubicBezTo>
                  <a:pt x="102" y="206"/>
                  <a:pt x="102" y="203"/>
                  <a:pt x="96" y="200"/>
                </a:cubicBezTo>
                <a:cubicBezTo>
                  <a:pt x="91" y="197"/>
                  <a:pt x="84" y="200"/>
                  <a:pt x="82" y="197"/>
                </a:cubicBezTo>
                <a:cubicBezTo>
                  <a:pt x="79" y="194"/>
                  <a:pt x="81" y="187"/>
                  <a:pt x="79" y="186"/>
                </a:cubicBezTo>
                <a:cubicBezTo>
                  <a:pt x="77" y="185"/>
                  <a:pt x="62" y="180"/>
                  <a:pt x="60" y="181"/>
                </a:cubicBezTo>
                <a:cubicBezTo>
                  <a:pt x="59" y="183"/>
                  <a:pt x="54" y="194"/>
                  <a:pt x="54" y="194"/>
                </a:cubicBezTo>
                <a:cubicBezTo>
                  <a:pt x="52" y="195"/>
                  <a:pt x="43" y="180"/>
                  <a:pt x="42" y="178"/>
                </a:cubicBezTo>
                <a:cubicBezTo>
                  <a:pt x="40" y="176"/>
                  <a:pt x="50" y="172"/>
                  <a:pt x="42" y="169"/>
                </a:cubicBezTo>
                <a:cubicBezTo>
                  <a:pt x="34" y="166"/>
                  <a:pt x="20" y="161"/>
                  <a:pt x="18" y="158"/>
                </a:cubicBezTo>
                <a:cubicBezTo>
                  <a:pt x="14" y="155"/>
                  <a:pt x="18" y="145"/>
                  <a:pt x="16" y="141"/>
                </a:cubicBezTo>
                <a:cubicBezTo>
                  <a:pt x="16" y="138"/>
                  <a:pt x="12" y="127"/>
                  <a:pt x="12" y="120"/>
                </a:cubicBezTo>
                <a:cubicBezTo>
                  <a:pt x="12" y="113"/>
                  <a:pt x="16" y="100"/>
                  <a:pt x="12" y="96"/>
                </a:cubicBezTo>
                <a:cubicBezTo>
                  <a:pt x="7" y="92"/>
                  <a:pt x="0" y="89"/>
                  <a:pt x="2" y="86"/>
                </a:cubicBezTo>
                <a:cubicBezTo>
                  <a:pt x="4" y="82"/>
                  <a:pt x="10" y="78"/>
                  <a:pt x="10" y="73"/>
                </a:cubicBezTo>
                <a:cubicBezTo>
                  <a:pt x="10" y="69"/>
                  <a:pt x="11" y="56"/>
                  <a:pt x="12" y="47"/>
                </a:cubicBezTo>
                <a:cubicBezTo>
                  <a:pt x="13" y="46"/>
                  <a:pt x="14" y="46"/>
                  <a:pt x="15" y="46"/>
                </a:cubicBezTo>
                <a:cubicBezTo>
                  <a:pt x="19" y="46"/>
                  <a:pt x="44" y="39"/>
                  <a:pt x="47" y="39"/>
                </a:cubicBezTo>
                <a:cubicBezTo>
                  <a:pt x="50" y="39"/>
                  <a:pt x="55" y="29"/>
                  <a:pt x="58" y="29"/>
                </a:cubicBezTo>
                <a:cubicBezTo>
                  <a:pt x="62" y="28"/>
                  <a:pt x="65" y="28"/>
                  <a:pt x="67" y="27"/>
                </a:cubicBezTo>
                <a:cubicBezTo>
                  <a:pt x="69" y="27"/>
                  <a:pt x="73" y="21"/>
                  <a:pt x="76" y="21"/>
                </a:cubicBezTo>
                <a:cubicBezTo>
                  <a:pt x="79" y="21"/>
                  <a:pt x="94" y="18"/>
                  <a:pt x="98" y="20"/>
                </a:cubicBezTo>
                <a:cubicBezTo>
                  <a:pt x="101" y="21"/>
                  <a:pt x="100" y="22"/>
                  <a:pt x="100" y="25"/>
                </a:cubicBezTo>
                <a:cubicBezTo>
                  <a:pt x="101" y="27"/>
                  <a:pt x="101" y="34"/>
                  <a:pt x="103" y="35"/>
                </a:cubicBezTo>
                <a:cubicBezTo>
                  <a:pt x="105" y="35"/>
                  <a:pt x="112" y="39"/>
                  <a:pt x="116" y="38"/>
                </a:cubicBezTo>
                <a:cubicBezTo>
                  <a:pt x="120" y="37"/>
                  <a:pt x="132" y="28"/>
                  <a:pt x="132" y="25"/>
                </a:cubicBezTo>
                <a:cubicBezTo>
                  <a:pt x="133" y="23"/>
                  <a:pt x="130" y="16"/>
                  <a:pt x="133" y="15"/>
                </a:cubicBezTo>
                <a:cubicBezTo>
                  <a:pt x="136" y="14"/>
                  <a:pt x="142" y="17"/>
                  <a:pt x="147" y="12"/>
                </a:cubicBezTo>
                <a:cubicBezTo>
                  <a:pt x="150" y="9"/>
                  <a:pt x="153" y="4"/>
                  <a:pt x="154" y="0"/>
                </a:cubicBezTo>
                <a:cubicBezTo>
                  <a:pt x="162" y="4"/>
                  <a:pt x="170" y="8"/>
                  <a:pt x="174" y="10"/>
                </a:cubicBezTo>
                <a:cubicBezTo>
                  <a:pt x="181" y="14"/>
                  <a:pt x="188" y="11"/>
                  <a:pt x="191" y="15"/>
                </a:cubicBezTo>
                <a:cubicBezTo>
                  <a:pt x="194" y="19"/>
                  <a:pt x="190" y="25"/>
                  <a:pt x="190" y="27"/>
                </a:cubicBezTo>
                <a:cubicBezTo>
                  <a:pt x="190" y="30"/>
                  <a:pt x="194" y="36"/>
                  <a:pt x="202" y="38"/>
                </a:cubicBezTo>
                <a:cubicBezTo>
                  <a:pt x="210" y="41"/>
                  <a:pt x="210" y="47"/>
                  <a:pt x="210" y="53"/>
                </a:cubicBezTo>
                <a:cubicBezTo>
                  <a:pt x="210" y="58"/>
                  <a:pt x="216" y="71"/>
                  <a:pt x="219" y="78"/>
                </a:cubicBezTo>
                <a:cubicBezTo>
                  <a:pt x="222" y="84"/>
                  <a:pt x="223" y="94"/>
                  <a:pt x="222" y="97"/>
                </a:cubicBezTo>
                <a:cubicBezTo>
                  <a:pt x="221" y="99"/>
                  <a:pt x="214" y="99"/>
                  <a:pt x="210" y="102"/>
                </a:cubicBezTo>
                <a:cubicBezTo>
                  <a:pt x="204" y="106"/>
                  <a:pt x="202" y="112"/>
                  <a:pt x="206" y="114"/>
                </a:cubicBezTo>
                <a:cubicBezTo>
                  <a:pt x="211" y="116"/>
                  <a:pt x="216" y="124"/>
                  <a:pt x="216" y="124"/>
                </a:cubicBezTo>
                <a:cubicBezTo>
                  <a:pt x="216" y="124"/>
                  <a:pt x="216" y="130"/>
                  <a:pt x="216" y="136"/>
                </a:cubicBezTo>
                <a:cubicBezTo>
                  <a:pt x="216" y="137"/>
                  <a:pt x="216" y="139"/>
                  <a:pt x="216" y="140"/>
                </a:cubicBezTo>
                <a:cubicBezTo>
                  <a:pt x="216" y="147"/>
                  <a:pt x="224" y="156"/>
                  <a:pt x="227" y="161"/>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41" name="Freeform 137"/>
          <p:cNvSpPr>
            <a:spLocks/>
          </p:cNvSpPr>
          <p:nvPr>
            <p:custDataLst>
              <p:tags r:id="rId20"/>
            </p:custDataLst>
          </p:nvPr>
        </p:nvSpPr>
        <p:spPr bwMode="gray">
          <a:xfrm>
            <a:off x="4095272" y="3925230"/>
            <a:ext cx="256266" cy="157775"/>
          </a:xfrm>
          <a:custGeom>
            <a:avLst/>
            <a:gdLst>
              <a:gd name="T0" fmla="*/ 70 w 71"/>
              <a:gd name="T1" fmla="*/ 28 h 59"/>
              <a:gd name="T2" fmla="*/ 71 w 71"/>
              <a:gd name="T3" fmla="*/ 42 h 59"/>
              <a:gd name="T4" fmla="*/ 64 w 71"/>
              <a:gd name="T5" fmla="*/ 45 h 59"/>
              <a:gd name="T6" fmla="*/ 48 w 71"/>
              <a:gd name="T7" fmla="*/ 46 h 59"/>
              <a:gd name="T8" fmla="*/ 25 w 71"/>
              <a:gd name="T9" fmla="*/ 56 h 59"/>
              <a:gd name="T10" fmla="*/ 15 w 71"/>
              <a:gd name="T11" fmla="*/ 59 h 59"/>
              <a:gd name="T12" fmla="*/ 4 w 71"/>
              <a:gd name="T13" fmla="*/ 42 h 59"/>
              <a:gd name="T14" fmla="*/ 6 w 71"/>
              <a:gd name="T15" fmla="*/ 18 h 59"/>
              <a:gd name="T16" fmla="*/ 5 w 71"/>
              <a:gd name="T17" fmla="*/ 13 h 59"/>
              <a:gd name="T18" fmla="*/ 17 w 71"/>
              <a:gd name="T19" fmla="*/ 10 h 59"/>
              <a:gd name="T20" fmla="*/ 41 w 71"/>
              <a:gd name="T21" fmla="*/ 2 h 59"/>
              <a:gd name="T22" fmla="*/ 51 w 71"/>
              <a:gd name="T23" fmla="*/ 0 h 59"/>
              <a:gd name="T24" fmla="*/ 64 w 71"/>
              <a:gd name="T25" fmla="*/ 13 h 59"/>
              <a:gd name="T26" fmla="*/ 70 w 71"/>
              <a:gd name="T27" fmla="*/ 2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59">
                <a:moveTo>
                  <a:pt x="70" y="28"/>
                </a:moveTo>
                <a:cubicBezTo>
                  <a:pt x="71" y="42"/>
                  <a:pt x="71" y="42"/>
                  <a:pt x="71" y="42"/>
                </a:cubicBezTo>
                <a:cubicBezTo>
                  <a:pt x="67" y="43"/>
                  <a:pt x="65" y="45"/>
                  <a:pt x="64" y="45"/>
                </a:cubicBezTo>
                <a:cubicBezTo>
                  <a:pt x="60" y="46"/>
                  <a:pt x="52" y="46"/>
                  <a:pt x="48" y="46"/>
                </a:cubicBezTo>
                <a:cubicBezTo>
                  <a:pt x="44" y="46"/>
                  <a:pt x="31" y="54"/>
                  <a:pt x="25" y="56"/>
                </a:cubicBezTo>
                <a:cubicBezTo>
                  <a:pt x="15" y="59"/>
                  <a:pt x="15" y="59"/>
                  <a:pt x="15" y="59"/>
                </a:cubicBezTo>
                <a:cubicBezTo>
                  <a:pt x="12" y="55"/>
                  <a:pt x="8" y="46"/>
                  <a:pt x="4" y="42"/>
                </a:cubicBezTo>
                <a:cubicBezTo>
                  <a:pt x="0" y="38"/>
                  <a:pt x="5" y="27"/>
                  <a:pt x="6" y="18"/>
                </a:cubicBezTo>
                <a:cubicBezTo>
                  <a:pt x="6" y="17"/>
                  <a:pt x="6" y="15"/>
                  <a:pt x="5" y="13"/>
                </a:cubicBezTo>
                <a:cubicBezTo>
                  <a:pt x="17" y="10"/>
                  <a:pt x="17" y="10"/>
                  <a:pt x="17" y="10"/>
                </a:cubicBezTo>
                <a:cubicBezTo>
                  <a:pt x="41" y="2"/>
                  <a:pt x="41" y="2"/>
                  <a:pt x="41" y="2"/>
                </a:cubicBezTo>
                <a:cubicBezTo>
                  <a:pt x="51" y="0"/>
                  <a:pt x="51" y="0"/>
                  <a:pt x="51" y="0"/>
                </a:cubicBezTo>
                <a:cubicBezTo>
                  <a:pt x="47" y="6"/>
                  <a:pt x="64" y="13"/>
                  <a:pt x="64" y="13"/>
                </a:cubicBezTo>
                <a:cubicBezTo>
                  <a:pt x="64" y="13"/>
                  <a:pt x="70" y="23"/>
                  <a:pt x="70" y="28"/>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42" name="Freeform 138"/>
          <p:cNvSpPr>
            <a:spLocks/>
          </p:cNvSpPr>
          <p:nvPr>
            <p:custDataLst>
              <p:tags r:id="rId21"/>
            </p:custDataLst>
          </p:nvPr>
        </p:nvSpPr>
        <p:spPr bwMode="gray">
          <a:xfrm>
            <a:off x="3946782" y="3552950"/>
            <a:ext cx="395174" cy="407735"/>
          </a:xfrm>
          <a:custGeom>
            <a:avLst/>
            <a:gdLst>
              <a:gd name="T0" fmla="*/ 109 w 109"/>
              <a:gd name="T1" fmla="*/ 109 h 152"/>
              <a:gd name="T2" fmla="*/ 92 w 109"/>
              <a:gd name="T3" fmla="*/ 139 h 152"/>
              <a:gd name="T4" fmla="*/ 82 w 109"/>
              <a:gd name="T5" fmla="*/ 141 h 152"/>
              <a:gd name="T6" fmla="*/ 58 w 109"/>
              <a:gd name="T7" fmla="*/ 149 h 152"/>
              <a:gd name="T8" fmla="*/ 46 w 109"/>
              <a:gd name="T9" fmla="*/ 152 h 152"/>
              <a:gd name="T10" fmla="*/ 33 w 109"/>
              <a:gd name="T11" fmla="*/ 134 h 152"/>
              <a:gd name="T12" fmla="*/ 39 w 109"/>
              <a:gd name="T13" fmla="*/ 122 h 152"/>
              <a:gd name="T14" fmla="*/ 17 w 109"/>
              <a:gd name="T15" fmla="*/ 105 h 152"/>
              <a:gd name="T16" fmla="*/ 11 w 109"/>
              <a:gd name="T17" fmla="*/ 98 h 152"/>
              <a:gd name="T18" fmla="*/ 15 w 109"/>
              <a:gd name="T19" fmla="*/ 93 h 152"/>
              <a:gd name="T20" fmla="*/ 17 w 109"/>
              <a:gd name="T21" fmla="*/ 78 h 152"/>
              <a:gd name="T22" fmla="*/ 5 w 109"/>
              <a:gd name="T23" fmla="*/ 67 h 152"/>
              <a:gd name="T24" fmla="*/ 10 w 109"/>
              <a:gd name="T25" fmla="*/ 47 h 152"/>
              <a:gd name="T26" fmla="*/ 3 w 109"/>
              <a:gd name="T27" fmla="*/ 46 h 152"/>
              <a:gd name="T28" fmla="*/ 7 w 109"/>
              <a:gd name="T29" fmla="*/ 35 h 152"/>
              <a:gd name="T30" fmla="*/ 2 w 109"/>
              <a:gd name="T31" fmla="*/ 19 h 152"/>
              <a:gd name="T32" fmla="*/ 0 w 109"/>
              <a:gd name="T33" fmla="*/ 9 h 152"/>
              <a:gd name="T34" fmla="*/ 6 w 109"/>
              <a:gd name="T35" fmla="*/ 9 h 152"/>
              <a:gd name="T36" fmla="*/ 34 w 109"/>
              <a:gd name="T37" fmla="*/ 1 h 152"/>
              <a:gd name="T38" fmla="*/ 38 w 109"/>
              <a:gd name="T39" fmla="*/ 5 h 152"/>
              <a:gd name="T40" fmla="*/ 39 w 109"/>
              <a:gd name="T41" fmla="*/ 5 h 152"/>
              <a:gd name="T42" fmla="*/ 49 w 109"/>
              <a:gd name="T43" fmla="*/ 18 h 152"/>
              <a:gd name="T44" fmla="*/ 67 w 109"/>
              <a:gd name="T45" fmla="*/ 35 h 152"/>
              <a:gd name="T46" fmla="*/ 65 w 109"/>
              <a:gd name="T47" fmla="*/ 46 h 152"/>
              <a:gd name="T48" fmla="*/ 81 w 109"/>
              <a:gd name="T49" fmla="*/ 60 h 152"/>
              <a:gd name="T50" fmla="*/ 95 w 109"/>
              <a:gd name="T51" fmla="*/ 56 h 152"/>
              <a:gd name="T52" fmla="*/ 101 w 109"/>
              <a:gd name="T53" fmla="*/ 70 h 152"/>
              <a:gd name="T54" fmla="*/ 93 w 109"/>
              <a:gd name="T55" fmla="*/ 87 h 152"/>
              <a:gd name="T56" fmla="*/ 109 w 109"/>
              <a:gd name="T57" fmla="*/ 10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152">
                <a:moveTo>
                  <a:pt x="109" y="109"/>
                </a:moveTo>
                <a:cubicBezTo>
                  <a:pt x="109" y="109"/>
                  <a:pt x="96" y="133"/>
                  <a:pt x="92" y="139"/>
                </a:cubicBezTo>
                <a:cubicBezTo>
                  <a:pt x="82" y="141"/>
                  <a:pt x="82" y="141"/>
                  <a:pt x="82" y="141"/>
                </a:cubicBezTo>
                <a:cubicBezTo>
                  <a:pt x="58" y="149"/>
                  <a:pt x="58" y="149"/>
                  <a:pt x="58" y="149"/>
                </a:cubicBezTo>
                <a:cubicBezTo>
                  <a:pt x="46" y="152"/>
                  <a:pt x="46" y="152"/>
                  <a:pt x="46" y="152"/>
                </a:cubicBezTo>
                <a:cubicBezTo>
                  <a:pt x="44" y="145"/>
                  <a:pt x="36" y="138"/>
                  <a:pt x="33" y="134"/>
                </a:cubicBezTo>
                <a:cubicBezTo>
                  <a:pt x="30" y="129"/>
                  <a:pt x="39" y="125"/>
                  <a:pt x="39" y="122"/>
                </a:cubicBezTo>
                <a:cubicBezTo>
                  <a:pt x="39" y="119"/>
                  <a:pt x="29" y="115"/>
                  <a:pt x="17" y="105"/>
                </a:cubicBezTo>
                <a:cubicBezTo>
                  <a:pt x="13" y="102"/>
                  <a:pt x="11" y="100"/>
                  <a:pt x="11" y="98"/>
                </a:cubicBezTo>
                <a:cubicBezTo>
                  <a:pt x="9" y="94"/>
                  <a:pt x="13" y="93"/>
                  <a:pt x="15" y="93"/>
                </a:cubicBezTo>
                <a:cubicBezTo>
                  <a:pt x="19" y="93"/>
                  <a:pt x="18" y="81"/>
                  <a:pt x="17" y="78"/>
                </a:cubicBezTo>
                <a:cubicBezTo>
                  <a:pt x="17" y="75"/>
                  <a:pt x="7" y="70"/>
                  <a:pt x="5" y="67"/>
                </a:cubicBezTo>
                <a:cubicBezTo>
                  <a:pt x="2" y="65"/>
                  <a:pt x="14" y="49"/>
                  <a:pt x="10" y="47"/>
                </a:cubicBezTo>
                <a:cubicBezTo>
                  <a:pt x="8" y="47"/>
                  <a:pt x="6" y="47"/>
                  <a:pt x="3" y="46"/>
                </a:cubicBezTo>
                <a:cubicBezTo>
                  <a:pt x="7" y="35"/>
                  <a:pt x="7" y="35"/>
                  <a:pt x="7" y="35"/>
                </a:cubicBezTo>
                <a:cubicBezTo>
                  <a:pt x="2" y="19"/>
                  <a:pt x="2" y="19"/>
                  <a:pt x="2" y="19"/>
                </a:cubicBezTo>
                <a:cubicBezTo>
                  <a:pt x="0" y="9"/>
                  <a:pt x="0" y="9"/>
                  <a:pt x="0" y="9"/>
                </a:cubicBezTo>
                <a:cubicBezTo>
                  <a:pt x="3" y="9"/>
                  <a:pt x="5" y="9"/>
                  <a:pt x="6" y="9"/>
                </a:cubicBezTo>
                <a:cubicBezTo>
                  <a:pt x="12" y="9"/>
                  <a:pt x="30" y="0"/>
                  <a:pt x="34" y="1"/>
                </a:cubicBezTo>
                <a:cubicBezTo>
                  <a:pt x="35" y="2"/>
                  <a:pt x="37" y="3"/>
                  <a:pt x="38" y="5"/>
                </a:cubicBezTo>
                <a:cubicBezTo>
                  <a:pt x="39" y="5"/>
                  <a:pt x="39" y="5"/>
                  <a:pt x="39" y="5"/>
                </a:cubicBezTo>
                <a:cubicBezTo>
                  <a:pt x="42" y="9"/>
                  <a:pt x="47" y="15"/>
                  <a:pt x="49" y="18"/>
                </a:cubicBezTo>
                <a:cubicBezTo>
                  <a:pt x="53" y="23"/>
                  <a:pt x="67" y="35"/>
                  <a:pt x="67" y="35"/>
                </a:cubicBezTo>
                <a:cubicBezTo>
                  <a:pt x="65" y="46"/>
                  <a:pt x="65" y="46"/>
                  <a:pt x="65" y="46"/>
                </a:cubicBezTo>
                <a:cubicBezTo>
                  <a:pt x="65" y="46"/>
                  <a:pt x="78" y="58"/>
                  <a:pt x="81" y="60"/>
                </a:cubicBezTo>
                <a:cubicBezTo>
                  <a:pt x="85" y="62"/>
                  <a:pt x="90" y="53"/>
                  <a:pt x="95" y="56"/>
                </a:cubicBezTo>
                <a:cubicBezTo>
                  <a:pt x="99" y="59"/>
                  <a:pt x="101" y="67"/>
                  <a:pt x="101" y="70"/>
                </a:cubicBezTo>
                <a:cubicBezTo>
                  <a:pt x="101" y="73"/>
                  <a:pt x="95" y="78"/>
                  <a:pt x="93" y="87"/>
                </a:cubicBezTo>
                <a:cubicBezTo>
                  <a:pt x="92" y="95"/>
                  <a:pt x="109" y="109"/>
                  <a:pt x="109" y="109"/>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43" name="Freeform 139"/>
          <p:cNvSpPr>
            <a:spLocks/>
          </p:cNvSpPr>
          <p:nvPr>
            <p:custDataLst>
              <p:tags r:id="rId22"/>
            </p:custDataLst>
          </p:nvPr>
        </p:nvSpPr>
        <p:spPr bwMode="gray">
          <a:xfrm>
            <a:off x="3776735" y="3216127"/>
            <a:ext cx="524506" cy="177276"/>
          </a:xfrm>
          <a:custGeom>
            <a:avLst/>
            <a:gdLst>
              <a:gd name="T0" fmla="*/ 129 w 145"/>
              <a:gd name="T1" fmla="*/ 13 h 66"/>
              <a:gd name="T2" fmla="*/ 145 w 145"/>
              <a:gd name="T3" fmla="*/ 16 h 66"/>
              <a:gd name="T4" fmla="*/ 133 w 145"/>
              <a:gd name="T5" fmla="*/ 33 h 66"/>
              <a:gd name="T6" fmla="*/ 129 w 145"/>
              <a:gd name="T7" fmla="*/ 42 h 66"/>
              <a:gd name="T8" fmla="*/ 123 w 145"/>
              <a:gd name="T9" fmla="*/ 44 h 66"/>
              <a:gd name="T10" fmla="*/ 113 w 145"/>
              <a:gd name="T11" fmla="*/ 38 h 66"/>
              <a:gd name="T12" fmla="*/ 91 w 145"/>
              <a:gd name="T13" fmla="*/ 37 h 66"/>
              <a:gd name="T14" fmla="*/ 79 w 145"/>
              <a:gd name="T15" fmla="*/ 49 h 66"/>
              <a:gd name="T16" fmla="*/ 53 w 145"/>
              <a:gd name="T17" fmla="*/ 54 h 66"/>
              <a:gd name="T18" fmla="*/ 45 w 145"/>
              <a:gd name="T19" fmla="*/ 65 h 66"/>
              <a:gd name="T20" fmla="*/ 25 w 145"/>
              <a:gd name="T21" fmla="*/ 66 h 66"/>
              <a:gd name="T22" fmla="*/ 15 w 145"/>
              <a:gd name="T23" fmla="*/ 60 h 66"/>
              <a:gd name="T24" fmla="*/ 4 w 145"/>
              <a:gd name="T25" fmla="*/ 58 h 66"/>
              <a:gd name="T26" fmla="*/ 0 w 145"/>
              <a:gd name="T27" fmla="*/ 33 h 66"/>
              <a:gd name="T28" fmla="*/ 0 w 145"/>
              <a:gd name="T29" fmla="*/ 29 h 66"/>
              <a:gd name="T30" fmla="*/ 20 w 145"/>
              <a:gd name="T31" fmla="*/ 24 h 66"/>
              <a:gd name="T32" fmla="*/ 43 w 145"/>
              <a:gd name="T33" fmla="*/ 2 h 66"/>
              <a:gd name="T34" fmla="*/ 49 w 145"/>
              <a:gd name="T35" fmla="*/ 1 h 66"/>
              <a:gd name="T36" fmla="*/ 61 w 145"/>
              <a:gd name="T37" fmla="*/ 0 h 66"/>
              <a:gd name="T38" fmla="*/ 70 w 145"/>
              <a:gd name="T39" fmla="*/ 8 h 66"/>
              <a:gd name="T40" fmla="*/ 71 w 145"/>
              <a:gd name="T41" fmla="*/ 16 h 66"/>
              <a:gd name="T42" fmla="*/ 79 w 145"/>
              <a:gd name="T43" fmla="*/ 15 h 66"/>
              <a:gd name="T44" fmla="*/ 89 w 145"/>
              <a:gd name="T45" fmla="*/ 7 h 66"/>
              <a:gd name="T46" fmla="*/ 111 w 145"/>
              <a:gd name="T47" fmla="*/ 4 h 66"/>
              <a:gd name="T48" fmla="*/ 129 w 145"/>
              <a:gd name="T49" fmla="*/ 1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66">
                <a:moveTo>
                  <a:pt x="129" y="13"/>
                </a:moveTo>
                <a:cubicBezTo>
                  <a:pt x="145" y="16"/>
                  <a:pt x="145" y="16"/>
                  <a:pt x="145" y="16"/>
                </a:cubicBezTo>
                <a:cubicBezTo>
                  <a:pt x="145" y="20"/>
                  <a:pt x="135" y="27"/>
                  <a:pt x="133" y="33"/>
                </a:cubicBezTo>
                <a:cubicBezTo>
                  <a:pt x="129" y="42"/>
                  <a:pt x="129" y="42"/>
                  <a:pt x="129" y="42"/>
                </a:cubicBezTo>
                <a:cubicBezTo>
                  <a:pt x="127" y="42"/>
                  <a:pt x="125" y="43"/>
                  <a:pt x="123" y="44"/>
                </a:cubicBezTo>
                <a:cubicBezTo>
                  <a:pt x="120" y="46"/>
                  <a:pt x="117" y="41"/>
                  <a:pt x="113" y="38"/>
                </a:cubicBezTo>
                <a:cubicBezTo>
                  <a:pt x="110" y="36"/>
                  <a:pt x="94" y="36"/>
                  <a:pt x="91" y="37"/>
                </a:cubicBezTo>
                <a:cubicBezTo>
                  <a:pt x="87" y="37"/>
                  <a:pt x="80" y="48"/>
                  <a:pt x="79" y="49"/>
                </a:cubicBezTo>
                <a:cubicBezTo>
                  <a:pt x="78" y="51"/>
                  <a:pt x="58" y="53"/>
                  <a:pt x="53" y="54"/>
                </a:cubicBezTo>
                <a:cubicBezTo>
                  <a:pt x="48" y="54"/>
                  <a:pt x="45" y="65"/>
                  <a:pt x="45" y="65"/>
                </a:cubicBezTo>
                <a:cubicBezTo>
                  <a:pt x="45" y="65"/>
                  <a:pt x="30" y="66"/>
                  <a:pt x="25" y="66"/>
                </a:cubicBezTo>
                <a:cubicBezTo>
                  <a:pt x="19" y="66"/>
                  <a:pt x="17" y="60"/>
                  <a:pt x="15" y="60"/>
                </a:cubicBezTo>
                <a:cubicBezTo>
                  <a:pt x="4" y="58"/>
                  <a:pt x="4" y="58"/>
                  <a:pt x="4" y="58"/>
                </a:cubicBezTo>
                <a:cubicBezTo>
                  <a:pt x="4" y="52"/>
                  <a:pt x="0" y="35"/>
                  <a:pt x="0" y="33"/>
                </a:cubicBezTo>
                <a:cubicBezTo>
                  <a:pt x="0" y="29"/>
                  <a:pt x="0" y="29"/>
                  <a:pt x="0" y="29"/>
                </a:cubicBezTo>
                <a:cubicBezTo>
                  <a:pt x="5" y="29"/>
                  <a:pt x="18" y="27"/>
                  <a:pt x="20" y="24"/>
                </a:cubicBezTo>
                <a:cubicBezTo>
                  <a:pt x="23" y="22"/>
                  <a:pt x="39" y="3"/>
                  <a:pt x="43" y="2"/>
                </a:cubicBezTo>
                <a:cubicBezTo>
                  <a:pt x="44" y="1"/>
                  <a:pt x="46" y="1"/>
                  <a:pt x="49" y="1"/>
                </a:cubicBezTo>
                <a:cubicBezTo>
                  <a:pt x="53" y="0"/>
                  <a:pt x="58" y="0"/>
                  <a:pt x="61" y="0"/>
                </a:cubicBezTo>
                <a:cubicBezTo>
                  <a:pt x="64" y="1"/>
                  <a:pt x="70" y="5"/>
                  <a:pt x="70" y="8"/>
                </a:cubicBezTo>
                <a:cubicBezTo>
                  <a:pt x="70" y="12"/>
                  <a:pt x="70" y="16"/>
                  <a:pt x="71" y="16"/>
                </a:cubicBezTo>
                <a:cubicBezTo>
                  <a:pt x="73" y="16"/>
                  <a:pt x="79" y="15"/>
                  <a:pt x="79" y="15"/>
                </a:cubicBezTo>
                <a:cubicBezTo>
                  <a:pt x="79" y="15"/>
                  <a:pt x="85" y="8"/>
                  <a:pt x="89" y="7"/>
                </a:cubicBezTo>
                <a:cubicBezTo>
                  <a:pt x="92" y="6"/>
                  <a:pt x="107" y="4"/>
                  <a:pt x="111" y="4"/>
                </a:cubicBezTo>
                <a:cubicBezTo>
                  <a:pt x="115" y="4"/>
                  <a:pt x="127" y="11"/>
                  <a:pt x="129" y="13"/>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44" name="Freeform 140"/>
          <p:cNvSpPr>
            <a:spLocks/>
          </p:cNvSpPr>
          <p:nvPr>
            <p:custDataLst>
              <p:tags r:id="rId23"/>
            </p:custDataLst>
          </p:nvPr>
        </p:nvSpPr>
        <p:spPr bwMode="gray">
          <a:xfrm>
            <a:off x="4286870" y="2203882"/>
            <a:ext cx="332906" cy="212730"/>
          </a:xfrm>
          <a:custGeom>
            <a:avLst/>
            <a:gdLst>
              <a:gd name="T0" fmla="*/ 81 w 92"/>
              <a:gd name="T1" fmla="*/ 70 h 79"/>
              <a:gd name="T2" fmla="*/ 82 w 92"/>
              <a:gd name="T3" fmla="*/ 73 h 79"/>
              <a:gd name="T4" fmla="*/ 82 w 92"/>
              <a:gd name="T5" fmla="*/ 73 h 79"/>
              <a:gd name="T6" fmla="*/ 72 w 92"/>
              <a:gd name="T7" fmla="*/ 73 h 79"/>
              <a:gd name="T8" fmla="*/ 62 w 92"/>
              <a:gd name="T9" fmla="*/ 77 h 79"/>
              <a:gd name="T10" fmla="*/ 45 w 92"/>
              <a:gd name="T11" fmla="*/ 61 h 79"/>
              <a:gd name="T12" fmla="*/ 30 w 92"/>
              <a:gd name="T13" fmla="*/ 63 h 79"/>
              <a:gd name="T14" fmla="*/ 22 w 92"/>
              <a:gd name="T15" fmla="*/ 65 h 79"/>
              <a:gd name="T16" fmla="*/ 23 w 92"/>
              <a:gd name="T17" fmla="*/ 60 h 79"/>
              <a:gd name="T18" fmla="*/ 24 w 92"/>
              <a:gd name="T19" fmla="*/ 50 h 79"/>
              <a:gd name="T20" fmla="*/ 17 w 92"/>
              <a:gd name="T21" fmla="*/ 47 h 79"/>
              <a:gd name="T22" fmla="*/ 13 w 92"/>
              <a:gd name="T23" fmla="*/ 55 h 79"/>
              <a:gd name="T24" fmla="*/ 8 w 92"/>
              <a:gd name="T25" fmla="*/ 49 h 79"/>
              <a:gd name="T26" fmla="*/ 6 w 92"/>
              <a:gd name="T27" fmla="*/ 44 h 79"/>
              <a:gd name="T28" fmla="*/ 1 w 92"/>
              <a:gd name="T29" fmla="*/ 26 h 79"/>
              <a:gd name="T30" fmla="*/ 2 w 92"/>
              <a:gd name="T31" fmla="*/ 19 h 79"/>
              <a:gd name="T32" fmla="*/ 12 w 92"/>
              <a:gd name="T33" fmla="*/ 16 h 79"/>
              <a:gd name="T34" fmla="*/ 18 w 92"/>
              <a:gd name="T35" fmla="*/ 9 h 79"/>
              <a:gd name="T36" fmla="*/ 36 w 92"/>
              <a:gd name="T37" fmla="*/ 8 h 79"/>
              <a:gd name="T38" fmla="*/ 40 w 92"/>
              <a:gd name="T39" fmla="*/ 0 h 79"/>
              <a:gd name="T40" fmla="*/ 48 w 92"/>
              <a:gd name="T41" fmla="*/ 1 h 79"/>
              <a:gd name="T42" fmla="*/ 66 w 92"/>
              <a:gd name="T43" fmla="*/ 5 h 79"/>
              <a:gd name="T44" fmla="*/ 85 w 92"/>
              <a:gd name="T45" fmla="*/ 5 h 79"/>
              <a:gd name="T46" fmla="*/ 87 w 92"/>
              <a:gd name="T47" fmla="*/ 3 h 79"/>
              <a:gd name="T48" fmla="*/ 92 w 92"/>
              <a:gd name="T49" fmla="*/ 7 h 79"/>
              <a:gd name="T50" fmla="*/ 80 w 92"/>
              <a:gd name="T51" fmla="*/ 34 h 79"/>
              <a:gd name="T52" fmla="*/ 86 w 92"/>
              <a:gd name="T53" fmla="*/ 58 h 79"/>
              <a:gd name="T54" fmla="*/ 81 w 92"/>
              <a:gd name="T55" fmla="*/ 7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79">
                <a:moveTo>
                  <a:pt x="81" y="70"/>
                </a:moveTo>
                <a:cubicBezTo>
                  <a:pt x="81" y="71"/>
                  <a:pt x="81" y="72"/>
                  <a:pt x="82" y="73"/>
                </a:cubicBezTo>
                <a:cubicBezTo>
                  <a:pt x="82" y="73"/>
                  <a:pt x="82" y="73"/>
                  <a:pt x="82" y="73"/>
                </a:cubicBezTo>
                <a:cubicBezTo>
                  <a:pt x="72" y="73"/>
                  <a:pt x="72" y="73"/>
                  <a:pt x="72" y="73"/>
                </a:cubicBezTo>
                <a:cubicBezTo>
                  <a:pt x="68" y="73"/>
                  <a:pt x="64" y="79"/>
                  <a:pt x="62" y="77"/>
                </a:cubicBezTo>
                <a:cubicBezTo>
                  <a:pt x="60" y="75"/>
                  <a:pt x="53" y="63"/>
                  <a:pt x="45" y="61"/>
                </a:cubicBezTo>
                <a:cubicBezTo>
                  <a:pt x="37" y="59"/>
                  <a:pt x="32" y="63"/>
                  <a:pt x="30" y="63"/>
                </a:cubicBezTo>
                <a:cubicBezTo>
                  <a:pt x="30" y="63"/>
                  <a:pt x="26" y="64"/>
                  <a:pt x="22" y="65"/>
                </a:cubicBezTo>
                <a:cubicBezTo>
                  <a:pt x="22" y="64"/>
                  <a:pt x="23" y="62"/>
                  <a:pt x="23" y="60"/>
                </a:cubicBezTo>
                <a:cubicBezTo>
                  <a:pt x="24" y="55"/>
                  <a:pt x="26" y="52"/>
                  <a:pt x="24" y="50"/>
                </a:cubicBezTo>
                <a:cubicBezTo>
                  <a:pt x="23" y="49"/>
                  <a:pt x="19" y="45"/>
                  <a:pt x="17" y="47"/>
                </a:cubicBezTo>
                <a:cubicBezTo>
                  <a:pt x="16" y="50"/>
                  <a:pt x="17" y="56"/>
                  <a:pt x="13" y="55"/>
                </a:cubicBezTo>
                <a:cubicBezTo>
                  <a:pt x="9" y="54"/>
                  <a:pt x="8" y="51"/>
                  <a:pt x="8" y="49"/>
                </a:cubicBezTo>
                <a:cubicBezTo>
                  <a:pt x="8" y="48"/>
                  <a:pt x="7" y="45"/>
                  <a:pt x="6" y="44"/>
                </a:cubicBezTo>
                <a:cubicBezTo>
                  <a:pt x="4" y="42"/>
                  <a:pt x="0" y="27"/>
                  <a:pt x="1" y="26"/>
                </a:cubicBezTo>
                <a:cubicBezTo>
                  <a:pt x="1" y="24"/>
                  <a:pt x="1" y="20"/>
                  <a:pt x="2" y="19"/>
                </a:cubicBezTo>
                <a:cubicBezTo>
                  <a:pt x="4" y="17"/>
                  <a:pt x="10" y="18"/>
                  <a:pt x="12" y="16"/>
                </a:cubicBezTo>
                <a:cubicBezTo>
                  <a:pt x="15" y="14"/>
                  <a:pt x="13" y="9"/>
                  <a:pt x="18" y="9"/>
                </a:cubicBezTo>
                <a:cubicBezTo>
                  <a:pt x="23" y="9"/>
                  <a:pt x="33" y="9"/>
                  <a:pt x="36" y="8"/>
                </a:cubicBezTo>
                <a:cubicBezTo>
                  <a:pt x="39" y="7"/>
                  <a:pt x="37" y="1"/>
                  <a:pt x="40" y="0"/>
                </a:cubicBezTo>
                <a:cubicBezTo>
                  <a:pt x="42" y="0"/>
                  <a:pt x="45" y="1"/>
                  <a:pt x="48" y="1"/>
                </a:cubicBezTo>
                <a:cubicBezTo>
                  <a:pt x="51" y="2"/>
                  <a:pt x="62" y="5"/>
                  <a:pt x="66" y="5"/>
                </a:cubicBezTo>
                <a:cubicBezTo>
                  <a:pt x="69" y="5"/>
                  <a:pt x="83" y="7"/>
                  <a:pt x="85" y="5"/>
                </a:cubicBezTo>
                <a:cubicBezTo>
                  <a:pt x="86" y="4"/>
                  <a:pt x="87" y="3"/>
                  <a:pt x="87" y="3"/>
                </a:cubicBezTo>
                <a:cubicBezTo>
                  <a:pt x="90" y="5"/>
                  <a:pt x="92" y="7"/>
                  <a:pt x="92" y="7"/>
                </a:cubicBezTo>
                <a:cubicBezTo>
                  <a:pt x="92" y="9"/>
                  <a:pt x="82" y="24"/>
                  <a:pt x="80" y="34"/>
                </a:cubicBezTo>
                <a:cubicBezTo>
                  <a:pt x="78" y="43"/>
                  <a:pt x="84" y="54"/>
                  <a:pt x="86" y="58"/>
                </a:cubicBezTo>
                <a:cubicBezTo>
                  <a:pt x="88" y="63"/>
                  <a:pt x="83" y="66"/>
                  <a:pt x="81" y="7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45" name="Freeform 141"/>
          <p:cNvSpPr>
            <a:spLocks/>
          </p:cNvSpPr>
          <p:nvPr>
            <p:custDataLst>
              <p:tags r:id="rId24"/>
            </p:custDataLst>
          </p:nvPr>
        </p:nvSpPr>
        <p:spPr bwMode="gray">
          <a:xfrm>
            <a:off x="4179097" y="2312020"/>
            <a:ext cx="114960" cy="70911"/>
          </a:xfrm>
          <a:custGeom>
            <a:avLst/>
            <a:gdLst>
              <a:gd name="T0" fmla="*/ 29 w 32"/>
              <a:gd name="T1" fmla="*/ 5 h 26"/>
              <a:gd name="T2" fmla="*/ 29 w 32"/>
              <a:gd name="T3" fmla="*/ 10 h 26"/>
              <a:gd name="T4" fmla="*/ 21 w 32"/>
              <a:gd name="T5" fmla="*/ 13 h 26"/>
              <a:gd name="T6" fmla="*/ 12 w 32"/>
              <a:gd name="T7" fmla="*/ 17 h 26"/>
              <a:gd name="T8" fmla="*/ 6 w 32"/>
              <a:gd name="T9" fmla="*/ 25 h 26"/>
              <a:gd name="T10" fmla="*/ 2 w 32"/>
              <a:gd name="T11" fmla="*/ 15 h 26"/>
              <a:gd name="T12" fmla="*/ 4 w 32"/>
              <a:gd name="T13" fmla="*/ 8 h 26"/>
              <a:gd name="T14" fmla="*/ 12 w 32"/>
              <a:gd name="T15" fmla="*/ 2 h 26"/>
              <a:gd name="T16" fmla="*/ 24 w 32"/>
              <a:gd name="T17" fmla="*/ 0 h 26"/>
              <a:gd name="T18" fmla="*/ 29 w 32"/>
              <a:gd name="T1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6">
                <a:moveTo>
                  <a:pt x="29" y="5"/>
                </a:moveTo>
                <a:cubicBezTo>
                  <a:pt x="30" y="8"/>
                  <a:pt x="32" y="9"/>
                  <a:pt x="29" y="10"/>
                </a:cubicBezTo>
                <a:cubicBezTo>
                  <a:pt x="26" y="11"/>
                  <a:pt x="21" y="13"/>
                  <a:pt x="21" y="13"/>
                </a:cubicBezTo>
                <a:cubicBezTo>
                  <a:pt x="17" y="15"/>
                  <a:pt x="13" y="16"/>
                  <a:pt x="12" y="17"/>
                </a:cubicBezTo>
                <a:cubicBezTo>
                  <a:pt x="11" y="18"/>
                  <a:pt x="10" y="26"/>
                  <a:pt x="6" y="25"/>
                </a:cubicBezTo>
                <a:cubicBezTo>
                  <a:pt x="3" y="24"/>
                  <a:pt x="7" y="18"/>
                  <a:pt x="2" y="15"/>
                </a:cubicBezTo>
                <a:cubicBezTo>
                  <a:pt x="0" y="14"/>
                  <a:pt x="0" y="10"/>
                  <a:pt x="4" y="8"/>
                </a:cubicBezTo>
                <a:cubicBezTo>
                  <a:pt x="7" y="6"/>
                  <a:pt x="10" y="2"/>
                  <a:pt x="12" y="2"/>
                </a:cubicBezTo>
                <a:cubicBezTo>
                  <a:pt x="15" y="2"/>
                  <a:pt x="23" y="0"/>
                  <a:pt x="24" y="0"/>
                </a:cubicBezTo>
                <a:cubicBezTo>
                  <a:pt x="26" y="1"/>
                  <a:pt x="28" y="3"/>
                  <a:pt x="29" y="5"/>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46" name="Freeform 142"/>
          <p:cNvSpPr>
            <a:spLocks/>
          </p:cNvSpPr>
          <p:nvPr>
            <p:custDataLst>
              <p:tags r:id="rId25"/>
            </p:custDataLst>
          </p:nvPr>
        </p:nvSpPr>
        <p:spPr bwMode="gray">
          <a:xfrm>
            <a:off x="4193466" y="2265928"/>
            <a:ext cx="76640" cy="40774"/>
          </a:xfrm>
          <a:custGeom>
            <a:avLst/>
            <a:gdLst>
              <a:gd name="T0" fmla="*/ 11 w 21"/>
              <a:gd name="T1" fmla="*/ 0 h 15"/>
              <a:gd name="T2" fmla="*/ 19 w 21"/>
              <a:gd name="T3" fmla="*/ 10 h 15"/>
              <a:gd name="T4" fmla="*/ 15 w 21"/>
              <a:gd name="T5" fmla="*/ 11 h 15"/>
              <a:gd name="T6" fmla="*/ 11 w 21"/>
              <a:gd name="T7" fmla="*/ 14 h 15"/>
              <a:gd name="T8" fmla="*/ 6 w 21"/>
              <a:gd name="T9" fmla="*/ 10 h 15"/>
              <a:gd name="T10" fmla="*/ 1 w 21"/>
              <a:gd name="T11" fmla="*/ 10 h 15"/>
              <a:gd name="T12" fmla="*/ 6 w 21"/>
              <a:gd name="T13" fmla="*/ 5 h 15"/>
              <a:gd name="T14" fmla="*/ 11 w 21"/>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5">
                <a:moveTo>
                  <a:pt x="11" y="0"/>
                </a:moveTo>
                <a:cubicBezTo>
                  <a:pt x="14" y="1"/>
                  <a:pt x="21" y="10"/>
                  <a:pt x="19" y="10"/>
                </a:cubicBezTo>
                <a:cubicBezTo>
                  <a:pt x="17" y="11"/>
                  <a:pt x="16" y="11"/>
                  <a:pt x="15" y="11"/>
                </a:cubicBezTo>
                <a:cubicBezTo>
                  <a:pt x="14" y="12"/>
                  <a:pt x="13" y="15"/>
                  <a:pt x="11" y="14"/>
                </a:cubicBezTo>
                <a:cubicBezTo>
                  <a:pt x="8" y="13"/>
                  <a:pt x="8" y="10"/>
                  <a:pt x="6" y="10"/>
                </a:cubicBezTo>
                <a:cubicBezTo>
                  <a:pt x="4" y="10"/>
                  <a:pt x="1" y="12"/>
                  <a:pt x="1" y="10"/>
                </a:cubicBezTo>
                <a:cubicBezTo>
                  <a:pt x="0" y="5"/>
                  <a:pt x="5" y="5"/>
                  <a:pt x="6" y="5"/>
                </a:cubicBezTo>
                <a:cubicBezTo>
                  <a:pt x="8" y="4"/>
                  <a:pt x="8" y="0"/>
                  <a:pt x="11" y="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47" name="Freeform 143"/>
          <p:cNvSpPr>
            <a:spLocks/>
          </p:cNvSpPr>
          <p:nvPr>
            <p:custDataLst>
              <p:tags r:id="rId26"/>
            </p:custDataLst>
          </p:nvPr>
        </p:nvSpPr>
        <p:spPr bwMode="gray">
          <a:xfrm>
            <a:off x="3704886" y="3313627"/>
            <a:ext cx="615516" cy="278324"/>
          </a:xfrm>
          <a:custGeom>
            <a:avLst/>
            <a:gdLst>
              <a:gd name="T0" fmla="*/ 152 w 170"/>
              <a:gd name="T1" fmla="*/ 7 h 104"/>
              <a:gd name="T2" fmla="*/ 170 w 170"/>
              <a:gd name="T3" fmla="*/ 19 h 104"/>
              <a:gd name="T4" fmla="*/ 164 w 170"/>
              <a:gd name="T5" fmla="*/ 27 h 104"/>
              <a:gd name="T6" fmla="*/ 148 w 170"/>
              <a:gd name="T7" fmla="*/ 42 h 104"/>
              <a:gd name="T8" fmla="*/ 130 w 170"/>
              <a:gd name="T9" fmla="*/ 83 h 104"/>
              <a:gd name="T10" fmla="*/ 116 w 170"/>
              <a:gd name="T11" fmla="*/ 87 h 104"/>
              <a:gd name="T12" fmla="*/ 106 w 170"/>
              <a:gd name="T13" fmla="*/ 95 h 104"/>
              <a:gd name="T14" fmla="*/ 105 w 170"/>
              <a:gd name="T15" fmla="*/ 95 h 104"/>
              <a:gd name="T16" fmla="*/ 101 w 170"/>
              <a:gd name="T17" fmla="*/ 91 h 104"/>
              <a:gd name="T18" fmla="*/ 73 w 170"/>
              <a:gd name="T19" fmla="*/ 99 h 104"/>
              <a:gd name="T20" fmla="*/ 67 w 170"/>
              <a:gd name="T21" fmla="*/ 99 h 104"/>
              <a:gd name="T22" fmla="*/ 42 w 170"/>
              <a:gd name="T23" fmla="*/ 101 h 104"/>
              <a:gd name="T24" fmla="*/ 15 w 170"/>
              <a:gd name="T25" fmla="*/ 81 h 104"/>
              <a:gd name="T26" fmla="*/ 6 w 170"/>
              <a:gd name="T27" fmla="*/ 73 h 104"/>
              <a:gd name="T28" fmla="*/ 2 w 170"/>
              <a:gd name="T29" fmla="*/ 61 h 104"/>
              <a:gd name="T30" fmla="*/ 13 w 170"/>
              <a:gd name="T31" fmla="*/ 37 h 104"/>
              <a:gd name="T32" fmla="*/ 24 w 170"/>
              <a:gd name="T33" fmla="*/ 22 h 104"/>
              <a:gd name="T34" fmla="*/ 35 w 170"/>
              <a:gd name="T35" fmla="*/ 24 h 104"/>
              <a:gd name="T36" fmla="*/ 45 w 170"/>
              <a:gd name="T37" fmla="*/ 30 h 104"/>
              <a:gd name="T38" fmla="*/ 65 w 170"/>
              <a:gd name="T39" fmla="*/ 29 h 104"/>
              <a:gd name="T40" fmla="*/ 73 w 170"/>
              <a:gd name="T41" fmla="*/ 18 h 104"/>
              <a:gd name="T42" fmla="*/ 99 w 170"/>
              <a:gd name="T43" fmla="*/ 13 h 104"/>
              <a:gd name="T44" fmla="*/ 111 w 170"/>
              <a:gd name="T45" fmla="*/ 1 h 104"/>
              <a:gd name="T46" fmla="*/ 133 w 170"/>
              <a:gd name="T47" fmla="*/ 2 h 104"/>
              <a:gd name="T48" fmla="*/ 143 w 170"/>
              <a:gd name="T49" fmla="*/ 8 h 104"/>
              <a:gd name="T50" fmla="*/ 149 w 170"/>
              <a:gd name="T51" fmla="*/ 6 h 104"/>
              <a:gd name="T52" fmla="*/ 152 w 170"/>
              <a:gd name="T53" fmla="*/ 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104">
                <a:moveTo>
                  <a:pt x="152" y="7"/>
                </a:moveTo>
                <a:cubicBezTo>
                  <a:pt x="154" y="10"/>
                  <a:pt x="163" y="19"/>
                  <a:pt x="170" y="19"/>
                </a:cubicBezTo>
                <a:cubicBezTo>
                  <a:pt x="164" y="27"/>
                  <a:pt x="164" y="27"/>
                  <a:pt x="164" y="27"/>
                </a:cubicBezTo>
                <a:cubicBezTo>
                  <a:pt x="164" y="27"/>
                  <a:pt x="155" y="36"/>
                  <a:pt x="148" y="42"/>
                </a:cubicBezTo>
                <a:cubicBezTo>
                  <a:pt x="141" y="49"/>
                  <a:pt x="131" y="78"/>
                  <a:pt x="130" y="83"/>
                </a:cubicBezTo>
                <a:cubicBezTo>
                  <a:pt x="129" y="88"/>
                  <a:pt x="119" y="84"/>
                  <a:pt x="116" y="87"/>
                </a:cubicBezTo>
                <a:cubicBezTo>
                  <a:pt x="106" y="95"/>
                  <a:pt x="106" y="95"/>
                  <a:pt x="106" y="95"/>
                </a:cubicBezTo>
                <a:cubicBezTo>
                  <a:pt x="105" y="95"/>
                  <a:pt x="105" y="95"/>
                  <a:pt x="105" y="95"/>
                </a:cubicBezTo>
                <a:cubicBezTo>
                  <a:pt x="104" y="93"/>
                  <a:pt x="102" y="92"/>
                  <a:pt x="101" y="91"/>
                </a:cubicBezTo>
                <a:cubicBezTo>
                  <a:pt x="97" y="90"/>
                  <a:pt x="79" y="99"/>
                  <a:pt x="73" y="99"/>
                </a:cubicBezTo>
                <a:cubicBezTo>
                  <a:pt x="72" y="99"/>
                  <a:pt x="70" y="99"/>
                  <a:pt x="67" y="99"/>
                </a:cubicBezTo>
                <a:cubicBezTo>
                  <a:pt x="59" y="101"/>
                  <a:pt x="46" y="104"/>
                  <a:pt x="42" y="101"/>
                </a:cubicBezTo>
                <a:cubicBezTo>
                  <a:pt x="37" y="96"/>
                  <a:pt x="20" y="87"/>
                  <a:pt x="15" y="81"/>
                </a:cubicBezTo>
                <a:cubicBezTo>
                  <a:pt x="12" y="79"/>
                  <a:pt x="9" y="76"/>
                  <a:pt x="6" y="73"/>
                </a:cubicBezTo>
                <a:cubicBezTo>
                  <a:pt x="2" y="69"/>
                  <a:pt x="0" y="65"/>
                  <a:pt x="2" y="61"/>
                </a:cubicBezTo>
                <a:cubicBezTo>
                  <a:pt x="4" y="53"/>
                  <a:pt x="9" y="43"/>
                  <a:pt x="13" y="37"/>
                </a:cubicBezTo>
                <a:cubicBezTo>
                  <a:pt x="17" y="32"/>
                  <a:pt x="24" y="28"/>
                  <a:pt x="24" y="22"/>
                </a:cubicBezTo>
                <a:cubicBezTo>
                  <a:pt x="35" y="24"/>
                  <a:pt x="35" y="24"/>
                  <a:pt x="35" y="24"/>
                </a:cubicBezTo>
                <a:cubicBezTo>
                  <a:pt x="37" y="24"/>
                  <a:pt x="39" y="30"/>
                  <a:pt x="45" y="30"/>
                </a:cubicBezTo>
                <a:cubicBezTo>
                  <a:pt x="50" y="30"/>
                  <a:pt x="65" y="29"/>
                  <a:pt x="65" y="29"/>
                </a:cubicBezTo>
                <a:cubicBezTo>
                  <a:pt x="65" y="29"/>
                  <a:pt x="68" y="18"/>
                  <a:pt x="73" y="18"/>
                </a:cubicBezTo>
                <a:cubicBezTo>
                  <a:pt x="78" y="17"/>
                  <a:pt x="98" y="15"/>
                  <a:pt x="99" y="13"/>
                </a:cubicBezTo>
                <a:cubicBezTo>
                  <a:pt x="100" y="12"/>
                  <a:pt x="107" y="1"/>
                  <a:pt x="111" y="1"/>
                </a:cubicBezTo>
                <a:cubicBezTo>
                  <a:pt x="114" y="0"/>
                  <a:pt x="130" y="0"/>
                  <a:pt x="133" y="2"/>
                </a:cubicBezTo>
                <a:cubicBezTo>
                  <a:pt x="137" y="5"/>
                  <a:pt x="140" y="10"/>
                  <a:pt x="143" y="8"/>
                </a:cubicBezTo>
                <a:cubicBezTo>
                  <a:pt x="145" y="7"/>
                  <a:pt x="147" y="6"/>
                  <a:pt x="149" y="6"/>
                </a:cubicBezTo>
                <a:cubicBezTo>
                  <a:pt x="150" y="6"/>
                  <a:pt x="151" y="6"/>
                  <a:pt x="152" y="7"/>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48" name="Freeform 144"/>
          <p:cNvSpPr>
            <a:spLocks/>
          </p:cNvSpPr>
          <p:nvPr>
            <p:custDataLst>
              <p:tags r:id="rId27"/>
            </p:custDataLst>
          </p:nvPr>
        </p:nvSpPr>
        <p:spPr bwMode="gray">
          <a:xfrm>
            <a:off x="4243762" y="2858030"/>
            <a:ext cx="1571120" cy="792423"/>
          </a:xfrm>
          <a:custGeom>
            <a:avLst/>
            <a:gdLst>
              <a:gd name="T0" fmla="*/ 4 w 434"/>
              <a:gd name="T1" fmla="*/ 167 h 296"/>
              <a:gd name="T2" fmla="*/ 15 w 434"/>
              <a:gd name="T3" fmla="*/ 129 h 296"/>
              <a:gd name="T4" fmla="*/ 46 w 434"/>
              <a:gd name="T5" fmla="*/ 97 h 296"/>
              <a:gd name="T6" fmla="*/ 30 w 434"/>
              <a:gd name="T7" fmla="*/ 59 h 296"/>
              <a:gd name="T8" fmla="*/ 40 w 434"/>
              <a:gd name="T9" fmla="*/ 55 h 296"/>
              <a:gd name="T10" fmla="*/ 83 w 434"/>
              <a:gd name="T11" fmla="*/ 42 h 296"/>
              <a:gd name="T12" fmla="*/ 144 w 434"/>
              <a:gd name="T13" fmla="*/ 50 h 296"/>
              <a:gd name="T14" fmla="*/ 178 w 434"/>
              <a:gd name="T15" fmla="*/ 49 h 296"/>
              <a:gd name="T16" fmla="*/ 196 w 434"/>
              <a:gd name="T17" fmla="*/ 49 h 296"/>
              <a:gd name="T18" fmla="*/ 203 w 434"/>
              <a:gd name="T19" fmla="*/ 20 h 296"/>
              <a:gd name="T20" fmla="*/ 217 w 434"/>
              <a:gd name="T21" fmla="*/ 19 h 296"/>
              <a:gd name="T22" fmla="*/ 258 w 434"/>
              <a:gd name="T23" fmla="*/ 0 h 296"/>
              <a:gd name="T24" fmla="*/ 270 w 434"/>
              <a:gd name="T25" fmla="*/ 30 h 296"/>
              <a:gd name="T26" fmla="*/ 294 w 434"/>
              <a:gd name="T27" fmla="*/ 37 h 296"/>
              <a:gd name="T28" fmla="*/ 339 w 434"/>
              <a:gd name="T29" fmla="*/ 64 h 296"/>
              <a:gd name="T30" fmla="*/ 374 w 434"/>
              <a:gd name="T31" fmla="*/ 67 h 296"/>
              <a:gd name="T32" fmla="*/ 428 w 434"/>
              <a:gd name="T33" fmla="*/ 81 h 296"/>
              <a:gd name="T34" fmla="*/ 434 w 434"/>
              <a:gd name="T35" fmla="*/ 119 h 296"/>
              <a:gd name="T36" fmla="*/ 410 w 434"/>
              <a:gd name="T37" fmla="*/ 139 h 296"/>
              <a:gd name="T38" fmla="*/ 403 w 434"/>
              <a:gd name="T39" fmla="*/ 167 h 296"/>
              <a:gd name="T40" fmla="*/ 384 w 434"/>
              <a:gd name="T41" fmla="*/ 181 h 296"/>
              <a:gd name="T42" fmla="*/ 337 w 434"/>
              <a:gd name="T43" fmla="*/ 216 h 296"/>
              <a:gd name="T44" fmla="*/ 338 w 434"/>
              <a:gd name="T45" fmla="*/ 244 h 296"/>
              <a:gd name="T46" fmla="*/ 373 w 434"/>
              <a:gd name="T47" fmla="*/ 242 h 296"/>
              <a:gd name="T48" fmla="*/ 369 w 434"/>
              <a:gd name="T49" fmla="*/ 257 h 296"/>
              <a:gd name="T50" fmla="*/ 346 w 434"/>
              <a:gd name="T51" fmla="*/ 266 h 296"/>
              <a:gd name="T52" fmla="*/ 316 w 434"/>
              <a:gd name="T53" fmla="*/ 293 h 296"/>
              <a:gd name="T54" fmla="*/ 301 w 434"/>
              <a:gd name="T55" fmla="*/ 280 h 296"/>
              <a:gd name="T56" fmla="*/ 281 w 434"/>
              <a:gd name="T57" fmla="*/ 263 h 296"/>
              <a:gd name="T58" fmla="*/ 279 w 434"/>
              <a:gd name="T59" fmla="*/ 250 h 296"/>
              <a:gd name="T60" fmla="*/ 285 w 434"/>
              <a:gd name="T61" fmla="*/ 232 h 296"/>
              <a:gd name="T62" fmla="*/ 248 w 434"/>
              <a:gd name="T63" fmla="*/ 230 h 296"/>
              <a:gd name="T64" fmla="*/ 251 w 434"/>
              <a:gd name="T65" fmla="*/ 217 h 296"/>
              <a:gd name="T66" fmla="*/ 220 w 434"/>
              <a:gd name="T67" fmla="*/ 236 h 296"/>
              <a:gd name="T68" fmla="*/ 199 w 434"/>
              <a:gd name="T69" fmla="*/ 274 h 296"/>
              <a:gd name="T70" fmla="*/ 178 w 434"/>
              <a:gd name="T71" fmla="*/ 282 h 296"/>
              <a:gd name="T72" fmla="*/ 162 w 434"/>
              <a:gd name="T73" fmla="*/ 273 h 296"/>
              <a:gd name="T74" fmla="*/ 170 w 434"/>
              <a:gd name="T75" fmla="*/ 262 h 296"/>
              <a:gd name="T76" fmla="*/ 180 w 434"/>
              <a:gd name="T77" fmla="*/ 233 h 296"/>
              <a:gd name="T78" fmla="*/ 198 w 434"/>
              <a:gd name="T79" fmla="*/ 219 h 296"/>
              <a:gd name="T80" fmla="*/ 176 w 434"/>
              <a:gd name="T81" fmla="*/ 195 h 296"/>
              <a:gd name="T82" fmla="*/ 157 w 434"/>
              <a:gd name="T83" fmla="*/ 173 h 296"/>
              <a:gd name="T84" fmla="*/ 113 w 434"/>
              <a:gd name="T85" fmla="*/ 172 h 296"/>
              <a:gd name="T86" fmla="*/ 92 w 434"/>
              <a:gd name="T87" fmla="*/ 190 h 296"/>
              <a:gd name="T88" fmla="*/ 58 w 434"/>
              <a:gd name="T89" fmla="*/ 190 h 296"/>
              <a:gd name="T90" fmla="*/ 3 w 434"/>
              <a:gd name="T91" fmla="*/ 17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4" h="296">
                <a:moveTo>
                  <a:pt x="0" y="176"/>
                </a:moveTo>
                <a:cubicBezTo>
                  <a:pt x="4" y="167"/>
                  <a:pt x="4" y="167"/>
                  <a:pt x="4" y="167"/>
                </a:cubicBezTo>
                <a:cubicBezTo>
                  <a:pt x="6" y="161"/>
                  <a:pt x="16" y="154"/>
                  <a:pt x="16" y="150"/>
                </a:cubicBezTo>
                <a:cubicBezTo>
                  <a:pt x="16" y="146"/>
                  <a:pt x="11" y="136"/>
                  <a:pt x="15" y="129"/>
                </a:cubicBezTo>
                <a:cubicBezTo>
                  <a:pt x="19" y="122"/>
                  <a:pt x="29" y="105"/>
                  <a:pt x="33" y="103"/>
                </a:cubicBezTo>
                <a:cubicBezTo>
                  <a:pt x="37" y="101"/>
                  <a:pt x="45" y="101"/>
                  <a:pt x="46" y="97"/>
                </a:cubicBezTo>
                <a:cubicBezTo>
                  <a:pt x="46" y="93"/>
                  <a:pt x="44" y="84"/>
                  <a:pt x="41" y="80"/>
                </a:cubicBezTo>
                <a:cubicBezTo>
                  <a:pt x="38" y="75"/>
                  <a:pt x="30" y="66"/>
                  <a:pt x="30" y="59"/>
                </a:cubicBezTo>
                <a:cubicBezTo>
                  <a:pt x="30" y="58"/>
                  <a:pt x="30" y="56"/>
                  <a:pt x="30" y="55"/>
                </a:cubicBezTo>
                <a:cubicBezTo>
                  <a:pt x="30" y="55"/>
                  <a:pt x="36" y="55"/>
                  <a:pt x="40" y="55"/>
                </a:cubicBezTo>
                <a:cubicBezTo>
                  <a:pt x="44" y="55"/>
                  <a:pt x="48" y="42"/>
                  <a:pt x="53" y="42"/>
                </a:cubicBezTo>
                <a:cubicBezTo>
                  <a:pt x="58" y="42"/>
                  <a:pt x="78" y="41"/>
                  <a:pt x="83" y="42"/>
                </a:cubicBezTo>
                <a:cubicBezTo>
                  <a:pt x="89" y="42"/>
                  <a:pt x="107" y="45"/>
                  <a:pt x="114" y="47"/>
                </a:cubicBezTo>
                <a:cubicBezTo>
                  <a:pt x="120" y="49"/>
                  <a:pt x="140" y="51"/>
                  <a:pt x="144" y="50"/>
                </a:cubicBezTo>
                <a:cubicBezTo>
                  <a:pt x="149" y="50"/>
                  <a:pt x="154" y="46"/>
                  <a:pt x="158" y="46"/>
                </a:cubicBezTo>
                <a:cubicBezTo>
                  <a:pt x="162" y="46"/>
                  <a:pt x="174" y="46"/>
                  <a:pt x="178" y="49"/>
                </a:cubicBezTo>
                <a:cubicBezTo>
                  <a:pt x="181" y="52"/>
                  <a:pt x="186" y="54"/>
                  <a:pt x="188" y="56"/>
                </a:cubicBezTo>
                <a:cubicBezTo>
                  <a:pt x="189" y="58"/>
                  <a:pt x="196" y="49"/>
                  <a:pt x="196" y="49"/>
                </a:cubicBezTo>
                <a:cubicBezTo>
                  <a:pt x="196" y="49"/>
                  <a:pt x="190" y="38"/>
                  <a:pt x="192" y="34"/>
                </a:cubicBezTo>
                <a:cubicBezTo>
                  <a:pt x="192" y="29"/>
                  <a:pt x="198" y="21"/>
                  <a:pt x="203" y="20"/>
                </a:cubicBezTo>
                <a:cubicBezTo>
                  <a:pt x="206" y="20"/>
                  <a:pt x="209" y="20"/>
                  <a:pt x="212" y="19"/>
                </a:cubicBezTo>
                <a:cubicBezTo>
                  <a:pt x="214" y="19"/>
                  <a:pt x="216" y="19"/>
                  <a:pt x="217" y="19"/>
                </a:cubicBezTo>
                <a:cubicBezTo>
                  <a:pt x="221" y="19"/>
                  <a:pt x="230" y="11"/>
                  <a:pt x="234" y="9"/>
                </a:cubicBezTo>
                <a:cubicBezTo>
                  <a:pt x="238" y="6"/>
                  <a:pt x="254" y="0"/>
                  <a:pt x="258" y="0"/>
                </a:cubicBezTo>
                <a:cubicBezTo>
                  <a:pt x="260" y="0"/>
                  <a:pt x="274" y="15"/>
                  <a:pt x="276" y="18"/>
                </a:cubicBezTo>
                <a:cubicBezTo>
                  <a:pt x="277" y="22"/>
                  <a:pt x="268" y="27"/>
                  <a:pt x="270" y="30"/>
                </a:cubicBezTo>
                <a:cubicBezTo>
                  <a:pt x="272" y="32"/>
                  <a:pt x="276" y="40"/>
                  <a:pt x="278" y="40"/>
                </a:cubicBezTo>
                <a:cubicBezTo>
                  <a:pt x="282" y="40"/>
                  <a:pt x="289" y="35"/>
                  <a:pt x="294" y="37"/>
                </a:cubicBezTo>
                <a:cubicBezTo>
                  <a:pt x="300" y="39"/>
                  <a:pt x="308" y="62"/>
                  <a:pt x="312" y="64"/>
                </a:cubicBezTo>
                <a:cubicBezTo>
                  <a:pt x="316" y="66"/>
                  <a:pt x="336" y="65"/>
                  <a:pt x="339" y="64"/>
                </a:cubicBezTo>
                <a:cubicBezTo>
                  <a:pt x="342" y="63"/>
                  <a:pt x="350" y="53"/>
                  <a:pt x="353" y="52"/>
                </a:cubicBezTo>
                <a:cubicBezTo>
                  <a:pt x="356" y="52"/>
                  <a:pt x="372" y="68"/>
                  <a:pt x="374" y="67"/>
                </a:cubicBezTo>
                <a:cubicBezTo>
                  <a:pt x="377" y="66"/>
                  <a:pt x="415" y="67"/>
                  <a:pt x="420" y="68"/>
                </a:cubicBezTo>
                <a:cubicBezTo>
                  <a:pt x="425" y="68"/>
                  <a:pt x="428" y="75"/>
                  <a:pt x="428" y="81"/>
                </a:cubicBezTo>
                <a:cubicBezTo>
                  <a:pt x="428" y="86"/>
                  <a:pt x="424" y="101"/>
                  <a:pt x="426" y="104"/>
                </a:cubicBezTo>
                <a:cubicBezTo>
                  <a:pt x="428" y="106"/>
                  <a:pt x="434" y="116"/>
                  <a:pt x="434" y="119"/>
                </a:cubicBezTo>
                <a:cubicBezTo>
                  <a:pt x="434" y="122"/>
                  <a:pt x="434" y="132"/>
                  <a:pt x="433" y="134"/>
                </a:cubicBezTo>
                <a:cubicBezTo>
                  <a:pt x="432" y="136"/>
                  <a:pt x="412" y="137"/>
                  <a:pt x="410" y="139"/>
                </a:cubicBezTo>
                <a:cubicBezTo>
                  <a:pt x="407" y="141"/>
                  <a:pt x="400" y="156"/>
                  <a:pt x="400" y="160"/>
                </a:cubicBezTo>
                <a:cubicBezTo>
                  <a:pt x="403" y="167"/>
                  <a:pt x="403" y="167"/>
                  <a:pt x="403" y="167"/>
                </a:cubicBezTo>
                <a:cubicBezTo>
                  <a:pt x="396" y="170"/>
                  <a:pt x="390" y="173"/>
                  <a:pt x="389" y="174"/>
                </a:cubicBezTo>
                <a:cubicBezTo>
                  <a:pt x="384" y="176"/>
                  <a:pt x="385" y="178"/>
                  <a:pt x="384" y="181"/>
                </a:cubicBezTo>
                <a:cubicBezTo>
                  <a:pt x="383" y="183"/>
                  <a:pt x="354" y="198"/>
                  <a:pt x="351" y="199"/>
                </a:cubicBezTo>
                <a:cubicBezTo>
                  <a:pt x="348" y="200"/>
                  <a:pt x="340" y="213"/>
                  <a:pt x="337" y="216"/>
                </a:cubicBezTo>
                <a:cubicBezTo>
                  <a:pt x="335" y="218"/>
                  <a:pt x="328" y="219"/>
                  <a:pt x="325" y="222"/>
                </a:cubicBezTo>
                <a:cubicBezTo>
                  <a:pt x="323" y="225"/>
                  <a:pt x="335" y="240"/>
                  <a:pt x="338" y="244"/>
                </a:cubicBezTo>
                <a:cubicBezTo>
                  <a:pt x="341" y="247"/>
                  <a:pt x="347" y="250"/>
                  <a:pt x="350" y="250"/>
                </a:cubicBezTo>
                <a:cubicBezTo>
                  <a:pt x="353" y="250"/>
                  <a:pt x="369" y="237"/>
                  <a:pt x="373" y="242"/>
                </a:cubicBezTo>
                <a:cubicBezTo>
                  <a:pt x="374" y="245"/>
                  <a:pt x="373" y="250"/>
                  <a:pt x="373" y="252"/>
                </a:cubicBezTo>
                <a:cubicBezTo>
                  <a:pt x="373" y="254"/>
                  <a:pt x="371" y="256"/>
                  <a:pt x="369" y="257"/>
                </a:cubicBezTo>
                <a:cubicBezTo>
                  <a:pt x="366" y="258"/>
                  <a:pt x="365" y="259"/>
                  <a:pt x="362" y="259"/>
                </a:cubicBezTo>
                <a:cubicBezTo>
                  <a:pt x="356" y="258"/>
                  <a:pt x="347" y="259"/>
                  <a:pt x="346" y="266"/>
                </a:cubicBezTo>
                <a:cubicBezTo>
                  <a:pt x="345" y="273"/>
                  <a:pt x="331" y="273"/>
                  <a:pt x="329" y="276"/>
                </a:cubicBezTo>
                <a:cubicBezTo>
                  <a:pt x="328" y="280"/>
                  <a:pt x="322" y="291"/>
                  <a:pt x="316" y="293"/>
                </a:cubicBezTo>
                <a:cubicBezTo>
                  <a:pt x="309" y="296"/>
                  <a:pt x="302" y="296"/>
                  <a:pt x="298" y="291"/>
                </a:cubicBezTo>
                <a:cubicBezTo>
                  <a:pt x="294" y="285"/>
                  <a:pt x="300" y="288"/>
                  <a:pt x="301" y="280"/>
                </a:cubicBezTo>
                <a:cubicBezTo>
                  <a:pt x="303" y="273"/>
                  <a:pt x="302" y="266"/>
                  <a:pt x="296" y="267"/>
                </a:cubicBezTo>
                <a:cubicBezTo>
                  <a:pt x="289" y="269"/>
                  <a:pt x="286" y="261"/>
                  <a:pt x="281" y="263"/>
                </a:cubicBezTo>
                <a:cubicBezTo>
                  <a:pt x="276" y="264"/>
                  <a:pt x="272" y="270"/>
                  <a:pt x="270" y="265"/>
                </a:cubicBezTo>
                <a:cubicBezTo>
                  <a:pt x="267" y="260"/>
                  <a:pt x="274" y="252"/>
                  <a:pt x="279" y="250"/>
                </a:cubicBezTo>
                <a:cubicBezTo>
                  <a:pt x="283" y="247"/>
                  <a:pt x="297" y="243"/>
                  <a:pt x="298" y="238"/>
                </a:cubicBezTo>
                <a:cubicBezTo>
                  <a:pt x="299" y="233"/>
                  <a:pt x="288" y="232"/>
                  <a:pt x="285" y="232"/>
                </a:cubicBezTo>
                <a:cubicBezTo>
                  <a:pt x="282" y="232"/>
                  <a:pt x="270" y="237"/>
                  <a:pt x="264" y="237"/>
                </a:cubicBezTo>
                <a:cubicBezTo>
                  <a:pt x="257" y="237"/>
                  <a:pt x="250" y="232"/>
                  <a:pt x="248" y="230"/>
                </a:cubicBezTo>
                <a:cubicBezTo>
                  <a:pt x="245" y="227"/>
                  <a:pt x="251" y="225"/>
                  <a:pt x="253" y="224"/>
                </a:cubicBezTo>
                <a:cubicBezTo>
                  <a:pt x="256" y="223"/>
                  <a:pt x="261" y="215"/>
                  <a:pt x="251" y="217"/>
                </a:cubicBezTo>
                <a:cubicBezTo>
                  <a:pt x="240" y="219"/>
                  <a:pt x="226" y="221"/>
                  <a:pt x="223" y="223"/>
                </a:cubicBezTo>
                <a:cubicBezTo>
                  <a:pt x="220" y="226"/>
                  <a:pt x="225" y="231"/>
                  <a:pt x="220" y="236"/>
                </a:cubicBezTo>
                <a:cubicBezTo>
                  <a:pt x="216" y="241"/>
                  <a:pt x="201" y="264"/>
                  <a:pt x="199" y="267"/>
                </a:cubicBezTo>
                <a:cubicBezTo>
                  <a:pt x="199" y="268"/>
                  <a:pt x="199" y="271"/>
                  <a:pt x="199" y="274"/>
                </a:cubicBezTo>
                <a:cubicBezTo>
                  <a:pt x="194" y="273"/>
                  <a:pt x="189" y="272"/>
                  <a:pt x="188" y="272"/>
                </a:cubicBezTo>
                <a:cubicBezTo>
                  <a:pt x="184" y="272"/>
                  <a:pt x="181" y="280"/>
                  <a:pt x="178" y="282"/>
                </a:cubicBezTo>
                <a:cubicBezTo>
                  <a:pt x="176" y="284"/>
                  <a:pt x="170" y="283"/>
                  <a:pt x="166" y="282"/>
                </a:cubicBezTo>
                <a:cubicBezTo>
                  <a:pt x="162" y="280"/>
                  <a:pt x="162" y="279"/>
                  <a:pt x="162" y="273"/>
                </a:cubicBezTo>
                <a:cubicBezTo>
                  <a:pt x="161" y="272"/>
                  <a:pt x="162" y="272"/>
                  <a:pt x="162" y="271"/>
                </a:cubicBezTo>
                <a:cubicBezTo>
                  <a:pt x="163" y="267"/>
                  <a:pt x="168" y="264"/>
                  <a:pt x="170" y="262"/>
                </a:cubicBezTo>
                <a:cubicBezTo>
                  <a:pt x="173" y="259"/>
                  <a:pt x="176" y="250"/>
                  <a:pt x="178" y="244"/>
                </a:cubicBezTo>
                <a:cubicBezTo>
                  <a:pt x="180" y="239"/>
                  <a:pt x="178" y="233"/>
                  <a:pt x="180" y="233"/>
                </a:cubicBezTo>
                <a:cubicBezTo>
                  <a:pt x="183" y="233"/>
                  <a:pt x="204" y="237"/>
                  <a:pt x="204" y="234"/>
                </a:cubicBezTo>
                <a:cubicBezTo>
                  <a:pt x="204" y="231"/>
                  <a:pt x="200" y="222"/>
                  <a:pt x="198" y="219"/>
                </a:cubicBezTo>
                <a:cubicBezTo>
                  <a:pt x="196" y="217"/>
                  <a:pt x="191" y="212"/>
                  <a:pt x="188" y="210"/>
                </a:cubicBezTo>
                <a:cubicBezTo>
                  <a:pt x="184" y="208"/>
                  <a:pt x="178" y="198"/>
                  <a:pt x="176" y="195"/>
                </a:cubicBezTo>
                <a:cubicBezTo>
                  <a:pt x="174" y="193"/>
                  <a:pt x="178" y="184"/>
                  <a:pt x="176" y="178"/>
                </a:cubicBezTo>
                <a:cubicBezTo>
                  <a:pt x="172" y="172"/>
                  <a:pt x="163" y="173"/>
                  <a:pt x="157" y="173"/>
                </a:cubicBezTo>
                <a:cubicBezTo>
                  <a:pt x="151" y="173"/>
                  <a:pt x="140" y="165"/>
                  <a:pt x="133" y="165"/>
                </a:cubicBezTo>
                <a:cubicBezTo>
                  <a:pt x="127" y="164"/>
                  <a:pt x="118" y="169"/>
                  <a:pt x="113" y="172"/>
                </a:cubicBezTo>
                <a:cubicBezTo>
                  <a:pt x="111" y="173"/>
                  <a:pt x="110" y="174"/>
                  <a:pt x="110" y="174"/>
                </a:cubicBezTo>
                <a:cubicBezTo>
                  <a:pt x="106" y="178"/>
                  <a:pt x="95" y="188"/>
                  <a:pt x="92" y="190"/>
                </a:cubicBezTo>
                <a:cubicBezTo>
                  <a:pt x="90" y="192"/>
                  <a:pt x="76" y="199"/>
                  <a:pt x="74" y="199"/>
                </a:cubicBezTo>
                <a:cubicBezTo>
                  <a:pt x="72" y="200"/>
                  <a:pt x="64" y="190"/>
                  <a:pt x="58" y="190"/>
                </a:cubicBezTo>
                <a:cubicBezTo>
                  <a:pt x="53" y="189"/>
                  <a:pt x="28" y="189"/>
                  <a:pt x="21" y="189"/>
                </a:cubicBezTo>
                <a:cubicBezTo>
                  <a:pt x="14" y="189"/>
                  <a:pt x="5" y="180"/>
                  <a:pt x="3" y="177"/>
                </a:cubicBezTo>
                <a:cubicBezTo>
                  <a:pt x="2" y="176"/>
                  <a:pt x="1" y="176"/>
                  <a:pt x="0" y="176"/>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49" name="Freeform 145"/>
          <p:cNvSpPr>
            <a:spLocks/>
          </p:cNvSpPr>
          <p:nvPr>
            <p:custDataLst>
              <p:tags r:id="rId28"/>
            </p:custDataLst>
          </p:nvPr>
        </p:nvSpPr>
        <p:spPr bwMode="gray">
          <a:xfrm>
            <a:off x="3985103" y="3900411"/>
            <a:ext cx="179625" cy="297823"/>
          </a:xfrm>
          <a:custGeom>
            <a:avLst/>
            <a:gdLst>
              <a:gd name="T0" fmla="*/ 46 w 50"/>
              <a:gd name="T1" fmla="*/ 68 h 111"/>
              <a:gd name="T2" fmla="*/ 46 w 50"/>
              <a:gd name="T3" fmla="*/ 82 h 111"/>
              <a:gd name="T4" fmla="*/ 31 w 50"/>
              <a:gd name="T5" fmla="*/ 99 h 111"/>
              <a:gd name="T6" fmla="*/ 22 w 50"/>
              <a:gd name="T7" fmla="*/ 111 h 111"/>
              <a:gd name="T8" fmla="*/ 18 w 50"/>
              <a:gd name="T9" fmla="*/ 109 h 111"/>
              <a:gd name="T10" fmla="*/ 17 w 50"/>
              <a:gd name="T11" fmla="*/ 102 h 111"/>
              <a:gd name="T12" fmla="*/ 12 w 50"/>
              <a:gd name="T13" fmla="*/ 94 h 111"/>
              <a:gd name="T14" fmla="*/ 2 w 50"/>
              <a:gd name="T15" fmla="*/ 85 h 111"/>
              <a:gd name="T16" fmla="*/ 2 w 50"/>
              <a:gd name="T17" fmla="*/ 72 h 111"/>
              <a:gd name="T18" fmla="*/ 6 w 50"/>
              <a:gd name="T19" fmla="*/ 56 h 111"/>
              <a:gd name="T20" fmla="*/ 3 w 50"/>
              <a:gd name="T21" fmla="*/ 46 h 111"/>
              <a:gd name="T22" fmla="*/ 8 w 50"/>
              <a:gd name="T23" fmla="*/ 39 h 111"/>
              <a:gd name="T24" fmla="*/ 8 w 50"/>
              <a:gd name="T25" fmla="*/ 32 h 111"/>
              <a:gd name="T26" fmla="*/ 1 w 50"/>
              <a:gd name="T27" fmla="*/ 29 h 111"/>
              <a:gd name="T28" fmla="*/ 7 w 50"/>
              <a:gd name="T29" fmla="*/ 3 h 111"/>
              <a:gd name="T30" fmla="*/ 15 w 50"/>
              <a:gd name="T31" fmla="*/ 8 h 111"/>
              <a:gd name="T32" fmla="*/ 23 w 50"/>
              <a:gd name="T33" fmla="*/ 4 h 111"/>
              <a:gd name="T34" fmla="*/ 36 w 50"/>
              <a:gd name="T35" fmla="*/ 22 h 111"/>
              <a:gd name="T36" fmla="*/ 37 w 50"/>
              <a:gd name="T37" fmla="*/ 27 h 111"/>
              <a:gd name="T38" fmla="*/ 35 w 50"/>
              <a:gd name="T39" fmla="*/ 51 h 111"/>
              <a:gd name="T40" fmla="*/ 46 w 50"/>
              <a:gd name="T4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11">
                <a:moveTo>
                  <a:pt x="46" y="68"/>
                </a:moveTo>
                <a:cubicBezTo>
                  <a:pt x="49" y="72"/>
                  <a:pt x="50" y="78"/>
                  <a:pt x="46" y="82"/>
                </a:cubicBezTo>
                <a:cubicBezTo>
                  <a:pt x="42" y="86"/>
                  <a:pt x="33" y="93"/>
                  <a:pt x="31" y="99"/>
                </a:cubicBezTo>
                <a:cubicBezTo>
                  <a:pt x="29" y="101"/>
                  <a:pt x="26" y="107"/>
                  <a:pt x="22" y="111"/>
                </a:cubicBezTo>
                <a:cubicBezTo>
                  <a:pt x="20" y="111"/>
                  <a:pt x="18" y="111"/>
                  <a:pt x="18" y="109"/>
                </a:cubicBezTo>
                <a:cubicBezTo>
                  <a:pt x="18" y="107"/>
                  <a:pt x="18" y="104"/>
                  <a:pt x="17" y="102"/>
                </a:cubicBezTo>
                <a:cubicBezTo>
                  <a:pt x="15" y="99"/>
                  <a:pt x="14" y="95"/>
                  <a:pt x="12" y="94"/>
                </a:cubicBezTo>
                <a:cubicBezTo>
                  <a:pt x="9" y="93"/>
                  <a:pt x="3" y="89"/>
                  <a:pt x="2" y="85"/>
                </a:cubicBezTo>
                <a:cubicBezTo>
                  <a:pt x="0" y="80"/>
                  <a:pt x="1" y="78"/>
                  <a:pt x="2" y="72"/>
                </a:cubicBezTo>
                <a:cubicBezTo>
                  <a:pt x="2" y="65"/>
                  <a:pt x="6" y="59"/>
                  <a:pt x="6" y="56"/>
                </a:cubicBezTo>
                <a:cubicBezTo>
                  <a:pt x="6" y="52"/>
                  <a:pt x="1" y="50"/>
                  <a:pt x="3" y="46"/>
                </a:cubicBezTo>
                <a:cubicBezTo>
                  <a:pt x="4" y="42"/>
                  <a:pt x="8" y="39"/>
                  <a:pt x="8" y="39"/>
                </a:cubicBezTo>
                <a:cubicBezTo>
                  <a:pt x="8" y="39"/>
                  <a:pt x="11" y="34"/>
                  <a:pt x="8" y="32"/>
                </a:cubicBezTo>
                <a:cubicBezTo>
                  <a:pt x="6" y="31"/>
                  <a:pt x="3" y="30"/>
                  <a:pt x="1" y="29"/>
                </a:cubicBezTo>
                <a:cubicBezTo>
                  <a:pt x="3" y="18"/>
                  <a:pt x="5" y="4"/>
                  <a:pt x="7" y="3"/>
                </a:cubicBezTo>
                <a:cubicBezTo>
                  <a:pt x="11" y="0"/>
                  <a:pt x="11" y="7"/>
                  <a:pt x="15" y="8"/>
                </a:cubicBezTo>
                <a:cubicBezTo>
                  <a:pt x="23" y="4"/>
                  <a:pt x="23" y="4"/>
                  <a:pt x="23" y="4"/>
                </a:cubicBezTo>
                <a:cubicBezTo>
                  <a:pt x="26" y="8"/>
                  <a:pt x="34" y="15"/>
                  <a:pt x="36" y="22"/>
                </a:cubicBezTo>
                <a:cubicBezTo>
                  <a:pt x="37" y="24"/>
                  <a:pt x="37" y="26"/>
                  <a:pt x="37" y="27"/>
                </a:cubicBezTo>
                <a:cubicBezTo>
                  <a:pt x="36" y="36"/>
                  <a:pt x="31" y="47"/>
                  <a:pt x="35" y="51"/>
                </a:cubicBezTo>
                <a:cubicBezTo>
                  <a:pt x="39" y="55"/>
                  <a:pt x="43" y="64"/>
                  <a:pt x="46" y="68"/>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50" name="Freeform 146"/>
          <p:cNvSpPr>
            <a:spLocks/>
          </p:cNvSpPr>
          <p:nvPr>
            <p:custDataLst>
              <p:tags r:id="rId29"/>
            </p:custDataLst>
          </p:nvPr>
        </p:nvSpPr>
        <p:spPr bwMode="gray">
          <a:xfrm>
            <a:off x="4078507" y="1189864"/>
            <a:ext cx="663415" cy="1012245"/>
          </a:xfrm>
          <a:custGeom>
            <a:avLst/>
            <a:gdLst>
              <a:gd name="T0" fmla="*/ 176 w 184"/>
              <a:gd name="T1" fmla="*/ 269 h 378"/>
              <a:gd name="T2" fmla="*/ 125 w 184"/>
              <a:gd name="T3" fmla="*/ 343 h 378"/>
              <a:gd name="T4" fmla="*/ 113 w 184"/>
              <a:gd name="T5" fmla="*/ 351 h 378"/>
              <a:gd name="T6" fmla="*/ 95 w 184"/>
              <a:gd name="T7" fmla="*/ 357 h 378"/>
              <a:gd name="T8" fmla="*/ 75 w 184"/>
              <a:gd name="T9" fmla="*/ 370 h 378"/>
              <a:gd name="T10" fmla="*/ 59 w 184"/>
              <a:gd name="T11" fmla="*/ 373 h 378"/>
              <a:gd name="T12" fmla="*/ 48 w 184"/>
              <a:gd name="T13" fmla="*/ 368 h 378"/>
              <a:gd name="T14" fmla="*/ 35 w 184"/>
              <a:gd name="T15" fmla="*/ 366 h 378"/>
              <a:gd name="T16" fmla="*/ 25 w 184"/>
              <a:gd name="T17" fmla="*/ 360 h 378"/>
              <a:gd name="T18" fmla="*/ 16 w 184"/>
              <a:gd name="T19" fmla="*/ 345 h 378"/>
              <a:gd name="T20" fmla="*/ 20 w 184"/>
              <a:gd name="T21" fmla="*/ 318 h 378"/>
              <a:gd name="T22" fmla="*/ 14 w 184"/>
              <a:gd name="T23" fmla="*/ 294 h 378"/>
              <a:gd name="T24" fmla="*/ 12 w 184"/>
              <a:gd name="T25" fmla="*/ 267 h 378"/>
              <a:gd name="T26" fmla="*/ 13 w 184"/>
              <a:gd name="T27" fmla="*/ 248 h 378"/>
              <a:gd name="T28" fmla="*/ 30 w 184"/>
              <a:gd name="T29" fmla="*/ 239 h 378"/>
              <a:gd name="T30" fmla="*/ 54 w 184"/>
              <a:gd name="T31" fmla="*/ 215 h 378"/>
              <a:gd name="T32" fmla="*/ 77 w 184"/>
              <a:gd name="T33" fmla="*/ 189 h 378"/>
              <a:gd name="T34" fmla="*/ 74 w 184"/>
              <a:gd name="T35" fmla="*/ 177 h 378"/>
              <a:gd name="T36" fmla="*/ 56 w 184"/>
              <a:gd name="T37" fmla="*/ 155 h 378"/>
              <a:gd name="T38" fmla="*/ 52 w 184"/>
              <a:gd name="T39" fmla="*/ 116 h 378"/>
              <a:gd name="T40" fmla="*/ 42 w 184"/>
              <a:gd name="T41" fmla="*/ 78 h 378"/>
              <a:gd name="T42" fmla="*/ 10 w 184"/>
              <a:gd name="T43" fmla="*/ 53 h 378"/>
              <a:gd name="T44" fmla="*/ 0 w 184"/>
              <a:gd name="T45" fmla="*/ 41 h 378"/>
              <a:gd name="T46" fmla="*/ 12 w 184"/>
              <a:gd name="T47" fmla="*/ 29 h 378"/>
              <a:gd name="T48" fmla="*/ 30 w 184"/>
              <a:gd name="T49" fmla="*/ 47 h 378"/>
              <a:gd name="T50" fmla="*/ 59 w 184"/>
              <a:gd name="T51" fmla="*/ 48 h 378"/>
              <a:gd name="T52" fmla="*/ 76 w 184"/>
              <a:gd name="T53" fmla="*/ 5 h 378"/>
              <a:gd name="T54" fmla="*/ 94 w 184"/>
              <a:gd name="T55" fmla="*/ 1 h 378"/>
              <a:gd name="T56" fmla="*/ 112 w 184"/>
              <a:gd name="T57" fmla="*/ 16 h 378"/>
              <a:gd name="T58" fmla="*/ 116 w 184"/>
              <a:gd name="T59" fmla="*/ 34 h 378"/>
              <a:gd name="T60" fmla="*/ 112 w 184"/>
              <a:gd name="T61" fmla="*/ 48 h 378"/>
              <a:gd name="T62" fmla="*/ 137 w 184"/>
              <a:gd name="T63" fmla="*/ 77 h 378"/>
              <a:gd name="T64" fmla="*/ 150 w 184"/>
              <a:gd name="T65" fmla="*/ 149 h 378"/>
              <a:gd name="T66" fmla="*/ 150 w 184"/>
              <a:gd name="T67" fmla="*/ 185 h 378"/>
              <a:gd name="T68" fmla="*/ 158 w 184"/>
              <a:gd name="T69" fmla="*/ 22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4" h="378">
                <a:moveTo>
                  <a:pt x="183" y="245"/>
                </a:moveTo>
                <a:cubicBezTo>
                  <a:pt x="183" y="251"/>
                  <a:pt x="184" y="259"/>
                  <a:pt x="176" y="269"/>
                </a:cubicBezTo>
                <a:cubicBezTo>
                  <a:pt x="168" y="279"/>
                  <a:pt x="142" y="321"/>
                  <a:pt x="137" y="325"/>
                </a:cubicBezTo>
                <a:cubicBezTo>
                  <a:pt x="135" y="327"/>
                  <a:pt x="130" y="336"/>
                  <a:pt x="125" y="343"/>
                </a:cubicBezTo>
                <a:cubicBezTo>
                  <a:pt x="124" y="342"/>
                  <a:pt x="122" y="342"/>
                  <a:pt x="120" y="343"/>
                </a:cubicBezTo>
                <a:cubicBezTo>
                  <a:pt x="118" y="344"/>
                  <a:pt x="115" y="350"/>
                  <a:pt x="113" y="351"/>
                </a:cubicBezTo>
                <a:cubicBezTo>
                  <a:pt x="111" y="353"/>
                  <a:pt x="106" y="358"/>
                  <a:pt x="103" y="358"/>
                </a:cubicBezTo>
                <a:cubicBezTo>
                  <a:pt x="100" y="357"/>
                  <a:pt x="96" y="357"/>
                  <a:pt x="95" y="357"/>
                </a:cubicBezTo>
                <a:cubicBezTo>
                  <a:pt x="93" y="357"/>
                  <a:pt x="85" y="361"/>
                  <a:pt x="84" y="363"/>
                </a:cubicBezTo>
                <a:cubicBezTo>
                  <a:pt x="83" y="365"/>
                  <a:pt x="78" y="371"/>
                  <a:pt x="75" y="370"/>
                </a:cubicBezTo>
                <a:cubicBezTo>
                  <a:pt x="73" y="370"/>
                  <a:pt x="73" y="366"/>
                  <a:pt x="71" y="366"/>
                </a:cubicBezTo>
                <a:cubicBezTo>
                  <a:pt x="69" y="367"/>
                  <a:pt x="62" y="371"/>
                  <a:pt x="59" y="373"/>
                </a:cubicBezTo>
                <a:cubicBezTo>
                  <a:pt x="56" y="375"/>
                  <a:pt x="49" y="378"/>
                  <a:pt x="48" y="376"/>
                </a:cubicBezTo>
                <a:cubicBezTo>
                  <a:pt x="47" y="375"/>
                  <a:pt x="51" y="366"/>
                  <a:pt x="48" y="368"/>
                </a:cubicBezTo>
                <a:cubicBezTo>
                  <a:pt x="46" y="369"/>
                  <a:pt x="38" y="373"/>
                  <a:pt x="37" y="371"/>
                </a:cubicBezTo>
                <a:cubicBezTo>
                  <a:pt x="35" y="369"/>
                  <a:pt x="39" y="366"/>
                  <a:pt x="35" y="366"/>
                </a:cubicBezTo>
                <a:cubicBezTo>
                  <a:pt x="32" y="366"/>
                  <a:pt x="24" y="369"/>
                  <a:pt x="21" y="367"/>
                </a:cubicBezTo>
                <a:cubicBezTo>
                  <a:pt x="17" y="365"/>
                  <a:pt x="26" y="364"/>
                  <a:pt x="25" y="360"/>
                </a:cubicBezTo>
                <a:cubicBezTo>
                  <a:pt x="24" y="356"/>
                  <a:pt x="22" y="355"/>
                  <a:pt x="18" y="352"/>
                </a:cubicBezTo>
                <a:cubicBezTo>
                  <a:pt x="15" y="349"/>
                  <a:pt x="16" y="348"/>
                  <a:pt x="16" y="345"/>
                </a:cubicBezTo>
                <a:cubicBezTo>
                  <a:pt x="15" y="341"/>
                  <a:pt x="13" y="338"/>
                  <a:pt x="15" y="335"/>
                </a:cubicBezTo>
                <a:cubicBezTo>
                  <a:pt x="18" y="331"/>
                  <a:pt x="20" y="321"/>
                  <a:pt x="20" y="318"/>
                </a:cubicBezTo>
                <a:cubicBezTo>
                  <a:pt x="20" y="315"/>
                  <a:pt x="19" y="304"/>
                  <a:pt x="17" y="301"/>
                </a:cubicBezTo>
                <a:cubicBezTo>
                  <a:pt x="15" y="298"/>
                  <a:pt x="13" y="297"/>
                  <a:pt x="14" y="294"/>
                </a:cubicBezTo>
                <a:cubicBezTo>
                  <a:pt x="16" y="290"/>
                  <a:pt x="18" y="289"/>
                  <a:pt x="16" y="286"/>
                </a:cubicBezTo>
                <a:cubicBezTo>
                  <a:pt x="15" y="283"/>
                  <a:pt x="10" y="270"/>
                  <a:pt x="12" y="267"/>
                </a:cubicBezTo>
                <a:cubicBezTo>
                  <a:pt x="15" y="263"/>
                  <a:pt x="18" y="261"/>
                  <a:pt x="18" y="258"/>
                </a:cubicBezTo>
                <a:cubicBezTo>
                  <a:pt x="18" y="256"/>
                  <a:pt x="10" y="253"/>
                  <a:pt x="13" y="248"/>
                </a:cubicBezTo>
                <a:cubicBezTo>
                  <a:pt x="16" y="243"/>
                  <a:pt x="30" y="253"/>
                  <a:pt x="31" y="250"/>
                </a:cubicBezTo>
                <a:cubicBezTo>
                  <a:pt x="35" y="244"/>
                  <a:pt x="29" y="243"/>
                  <a:pt x="30" y="239"/>
                </a:cubicBezTo>
                <a:cubicBezTo>
                  <a:pt x="32" y="235"/>
                  <a:pt x="36" y="227"/>
                  <a:pt x="39" y="225"/>
                </a:cubicBezTo>
                <a:cubicBezTo>
                  <a:pt x="43" y="224"/>
                  <a:pt x="52" y="218"/>
                  <a:pt x="54" y="215"/>
                </a:cubicBezTo>
                <a:cubicBezTo>
                  <a:pt x="55" y="212"/>
                  <a:pt x="64" y="192"/>
                  <a:pt x="66" y="190"/>
                </a:cubicBezTo>
                <a:cubicBezTo>
                  <a:pt x="68" y="188"/>
                  <a:pt x="75" y="188"/>
                  <a:pt x="77" y="189"/>
                </a:cubicBezTo>
                <a:cubicBezTo>
                  <a:pt x="78" y="190"/>
                  <a:pt x="79" y="187"/>
                  <a:pt x="79" y="183"/>
                </a:cubicBezTo>
                <a:cubicBezTo>
                  <a:pt x="78" y="179"/>
                  <a:pt x="73" y="179"/>
                  <a:pt x="74" y="177"/>
                </a:cubicBezTo>
                <a:cubicBezTo>
                  <a:pt x="76" y="174"/>
                  <a:pt x="77" y="167"/>
                  <a:pt x="73" y="164"/>
                </a:cubicBezTo>
                <a:cubicBezTo>
                  <a:pt x="69" y="160"/>
                  <a:pt x="61" y="155"/>
                  <a:pt x="56" y="155"/>
                </a:cubicBezTo>
                <a:cubicBezTo>
                  <a:pt x="54" y="149"/>
                  <a:pt x="50" y="140"/>
                  <a:pt x="48" y="136"/>
                </a:cubicBezTo>
                <a:cubicBezTo>
                  <a:pt x="45" y="130"/>
                  <a:pt x="54" y="119"/>
                  <a:pt x="52" y="116"/>
                </a:cubicBezTo>
                <a:cubicBezTo>
                  <a:pt x="50" y="113"/>
                  <a:pt x="46" y="103"/>
                  <a:pt x="45" y="99"/>
                </a:cubicBezTo>
                <a:cubicBezTo>
                  <a:pt x="44" y="94"/>
                  <a:pt x="44" y="81"/>
                  <a:pt x="42" y="78"/>
                </a:cubicBezTo>
                <a:cubicBezTo>
                  <a:pt x="40" y="74"/>
                  <a:pt x="26" y="65"/>
                  <a:pt x="24" y="64"/>
                </a:cubicBezTo>
                <a:cubicBezTo>
                  <a:pt x="18" y="62"/>
                  <a:pt x="14" y="56"/>
                  <a:pt x="10" y="53"/>
                </a:cubicBezTo>
                <a:cubicBezTo>
                  <a:pt x="0" y="41"/>
                  <a:pt x="0" y="41"/>
                  <a:pt x="0" y="41"/>
                </a:cubicBezTo>
                <a:cubicBezTo>
                  <a:pt x="0" y="41"/>
                  <a:pt x="0" y="41"/>
                  <a:pt x="0" y="41"/>
                </a:cubicBezTo>
                <a:cubicBezTo>
                  <a:pt x="0" y="38"/>
                  <a:pt x="0" y="38"/>
                  <a:pt x="0" y="38"/>
                </a:cubicBezTo>
                <a:cubicBezTo>
                  <a:pt x="2" y="33"/>
                  <a:pt x="7" y="28"/>
                  <a:pt x="12" y="29"/>
                </a:cubicBezTo>
                <a:cubicBezTo>
                  <a:pt x="17" y="29"/>
                  <a:pt x="20" y="28"/>
                  <a:pt x="22" y="31"/>
                </a:cubicBezTo>
                <a:cubicBezTo>
                  <a:pt x="23" y="35"/>
                  <a:pt x="28" y="46"/>
                  <a:pt x="30" y="47"/>
                </a:cubicBezTo>
                <a:cubicBezTo>
                  <a:pt x="32" y="47"/>
                  <a:pt x="42" y="48"/>
                  <a:pt x="42" y="48"/>
                </a:cubicBezTo>
                <a:cubicBezTo>
                  <a:pt x="42" y="48"/>
                  <a:pt x="56" y="50"/>
                  <a:pt x="59" y="48"/>
                </a:cubicBezTo>
                <a:cubicBezTo>
                  <a:pt x="62" y="47"/>
                  <a:pt x="69" y="37"/>
                  <a:pt x="69" y="30"/>
                </a:cubicBezTo>
                <a:cubicBezTo>
                  <a:pt x="69" y="23"/>
                  <a:pt x="74" y="8"/>
                  <a:pt x="76" y="5"/>
                </a:cubicBezTo>
                <a:cubicBezTo>
                  <a:pt x="78" y="3"/>
                  <a:pt x="82" y="5"/>
                  <a:pt x="85" y="5"/>
                </a:cubicBezTo>
                <a:cubicBezTo>
                  <a:pt x="88" y="5"/>
                  <a:pt x="92" y="0"/>
                  <a:pt x="94" y="1"/>
                </a:cubicBezTo>
                <a:cubicBezTo>
                  <a:pt x="96" y="2"/>
                  <a:pt x="102" y="9"/>
                  <a:pt x="104" y="9"/>
                </a:cubicBezTo>
                <a:cubicBezTo>
                  <a:pt x="107" y="9"/>
                  <a:pt x="112" y="13"/>
                  <a:pt x="112" y="16"/>
                </a:cubicBezTo>
                <a:cubicBezTo>
                  <a:pt x="110" y="19"/>
                  <a:pt x="108" y="28"/>
                  <a:pt x="108" y="30"/>
                </a:cubicBezTo>
                <a:cubicBezTo>
                  <a:pt x="110" y="32"/>
                  <a:pt x="111" y="34"/>
                  <a:pt x="116" y="34"/>
                </a:cubicBezTo>
                <a:cubicBezTo>
                  <a:pt x="117" y="34"/>
                  <a:pt x="118" y="34"/>
                  <a:pt x="120" y="33"/>
                </a:cubicBezTo>
                <a:cubicBezTo>
                  <a:pt x="112" y="48"/>
                  <a:pt x="112" y="48"/>
                  <a:pt x="112" y="48"/>
                </a:cubicBezTo>
                <a:cubicBezTo>
                  <a:pt x="110" y="52"/>
                  <a:pt x="114" y="60"/>
                  <a:pt x="116" y="62"/>
                </a:cubicBezTo>
                <a:cubicBezTo>
                  <a:pt x="117" y="63"/>
                  <a:pt x="136" y="75"/>
                  <a:pt x="137" y="77"/>
                </a:cubicBezTo>
                <a:cubicBezTo>
                  <a:pt x="138" y="80"/>
                  <a:pt x="126" y="103"/>
                  <a:pt x="126" y="108"/>
                </a:cubicBezTo>
                <a:cubicBezTo>
                  <a:pt x="126" y="113"/>
                  <a:pt x="149" y="145"/>
                  <a:pt x="150" y="149"/>
                </a:cubicBezTo>
                <a:cubicBezTo>
                  <a:pt x="151" y="152"/>
                  <a:pt x="140" y="154"/>
                  <a:pt x="141" y="160"/>
                </a:cubicBezTo>
                <a:cubicBezTo>
                  <a:pt x="142" y="165"/>
                  <a:pt x="146" y="179"/>
                  <a:pt x="150" y="185"/>
                </a:cubicBezTo>
                <a:cubicBezTo>
                  <a:pt x="154" y="191"/>
                  <a:pt x="164" y="196"/>
                  <a:pt x="163" y="203"/>
                </a:cubicBezTo>
                <a:cubicBezTo>
                  <a:pt x="162" y="209"/>
                  <a:pt x="159" y="216"/>
                  <a:pt x="158" y="220"/>
                </a:cubicBezTo>
                <a:cubicBezTo>
                  <a:pt x="156" y="224"/>
                  <a:pt x="183" y="238"/>
                  <a:pt x="183" y="245"/>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51" name="Freeform 147"/>
          <p:cNvSpPr>
            <a:spLocks/>
          </p:cNvSpPr>
          <p:nvPr>
            <p:custDataLst>
              <p:tags r:id="rId30"/>
            </p:custDataLst>
          </p:nvPr>
        </p:nvSpPr>
        <p:spPr bwMode="gray">
          <a:xfrm>
            <a:off x="4013841" y="2138290"/>
            <a:ext cx="79034" cy="46092"/>
          </a:xfrm>
          <a:custGeom>
            <a:avLst/>
            <a:gdLst>
              <a:gd name="T0" fmla="*/ 20 w 22"/>
              <a:gd name="T1" fmla="*/ 5 h 18"/>
              <a:gd name="T2" fmla="*/ 18 w 22"/>
              <a:gd name="T3" fmla="*/ 15 h 18"/>
              <a:gd name="T4" fmla="*/ 11 w 22"/>
              <a:gd name="T5" fmla="*/ 18 h 18"/>
              <a:gd name="T6" fmla="*/ 6 w 22"/>
              <a:gd name="T7" fmla="*/ 13 h 18"/>
              <a:gd name="T8" fmla="*/ 2 w 22"/>
              <a:gd name="T9" fmla="*/ 8 h 18"/>
              <a:gd name="T10" fmla="*/ 7 w 22"/>
              <a:gd name="T11" fmla="*/ 6 h 18"/>
              <a:gd name="T12" fmla="*/ 10 w 22"/>
              <a:gd name="T13" fmla="*/ 1 h 18"/>
              <a:gd name="T14" fmla="*/ 20 w 22"/>
              <a:gd name="T15" fmla="*/ 5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8">
                <a:moveTo>
                  <a:pt x="20" y="5"/>
                </a:moveTo>
                <a:cubicBezTo>
                  <a:pt x="21" y="8"/>
                  <a:pt x="22" y="13"/>
                  <a:pt x="18" y="15"/>
                </a:cubicBezTo>
                <a:cubicBezTo>
                  <a:pt x="14" y="18"/>
                  <a:pt x="11" y="18"/>
                  <a:pt x="11" y="18"/>
                </a:cubicBezTo>
                <a:cubicBezTo>
                  <a:pt x="11" y="18"/>
                  <a:pt x="7" y="14"/>
                  <a:pt x="6" y="13"/>
                </a:cubicBezTo>
                <a:cubicBezTo>
                  <a:pt x="5" y="12"/>
                  <a:pt x="0" y="12"/>
                  <a:pt x="2" y="8"/>
                </a:cubicBezTo>
                <a:cubicBezTo>
                  <a:pt x="2" y="6"/>
                  <a:pt x="6" y="8"/>
                  <a:pt x="7" y="6"/>
                </a:cubicBezTo>
                <a:cubicBezTo>
                  <a:pt x="8" y="4"/>
                  <a:pt x="5" y="0"/>
                  <a:pt x="10" y="1"/>
                </a:cubicBezTo>
                <a:cubicBezTo>
                  <a:pt x="15" y="2"/>
                  <a:pt x="19" y="2"/>
                  <a:pt x="20" y="5"/>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52" name="Freeform 148"/>
          <p:cNvSpPr>
            <a:spLocks/>
          </p:cNvSpPr>
          <p:nvPr>
            <p:custDataLst>
              <p:tags r:id="rId31"/>
            </p:custDataLst>
          </p:nvPr>
        </p:nvSpPr>
        <p:spPr bwMode="gray">
          <a:xfrm>
            <a:off x="3906066" y="3817092"/>
            <a:ext cx="182019" cy="161321"/>
          </a:xfrm>
          <a:custGeom>
            <a:avLst/>
            <a:gdLst>
              <a:gd name="T0" fmla="*/ 28 w 50"/>
              <a:gd name="T1" fmla="*/ 7 h 61"/>
              <a:gd name="T2" fmla="*/ 50 w 50"/>
              <a:gd name="T3" fmla="*/ 24 h 61"/>
              <a:gd name="T4" fmla="*/ 44 w 50"/>
              <a:gd name="T5" fmla="*/ 36 h 61"/>
              <a:gd name="T6" fmla="*/ 36 w 50"/>
              <a:gd name="T7" fmla="*/ 40 h 61"/>
              <a:gd name="T8" fmla="*/ 28 w 50"/>
              <a:gd name="T9" fmla="*/ 35 h 61"/>
              <a:gd name="T10" fmla="*/ 22 w 50"/>
              <a:gd name="T11" fmla="*/ 61 h 61"/>
              <a:gd name="T12" fmla="*/ 17 w 50"/>
              <a:gd name="T13" fmla="*/ 59 h 61"/>
              <a:gd name="T14" fmla="*/ 13 w 50"/>
              <a:gd name="T15" fmla="*/ 51 h 61"/>
              <a:gd name="T16" fmla="*/ 5 w 50"/>
              <a:gd name="T17" fmla="*/ 45 h 61"/>
              <a:gd name="T18" fmla="*/ 0 w 50"/>
              <a:gd name="T19" fmla="*/ 41 h 61"/>
              <a:gd name="T20" fmla="*/ 0 w 50"/>
              <a:gd name="T21" fmla="*/ 22 h 61"/>
              <a:gd name="T22" fmla="*/ 7 w 50"/>
              <a:gd name="T23" fmla="*/ 7 h 61"/>
              <a:gd name="T24" fmla="*/ 22 w 50"/>
              <a:gd name="T25" fmla="*/ 0 h 61"/>
              <a:gd name="T26" fmla="*/ 28 w 50"/>
              <a:gd name="T27" fmla="*/ 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61">
                <a:moveTo>
                  <a:pt x="28" y="7"/>
                </a:moveTo>
                <a:cubicBezTo>
                  <a:pt x="40" y="17"/>
                  <a:pt x="50" y="21"/>
                  <a:pt x="50" y="24"/>
                </a:cubicBezTo>
                <a:cubicBezTo>
                  <a:pt x="50" y="27"/>
                  <a:pt x="41" y="31"/>
                  <a:pt x="44" y="36"/>
                </a:cubicBezTo>
                <a:cubicBezTo>
                  <a:pt x="36" y="40"/>
                  <a:pt x="36" y="40"/>
                  <a:pt x="36" y="40"/>
                </a:cubicBezTo>
                <a:cubicBezTo>
                  <a:pt x="32" y="39"/>
                  <a:pt x="32" y="32"/>
                  <a:pt x="28" y="35"/>
                </a:cubicBezTo>
                <a:cubicBezTo>
                  <a:pt x="26" y="36"/>
                  <a:pt x="24" y="50"/>
                  <a:pt x="22" y="61"/>
                </a:cubicBezTo>
                <a:cubicBezTo>
                  <a:pt x="19" y="60"/>
                  <a:pt x="18" y="60"/>
                  <a:pt x="17" y="59"/>
                </a:cubicBezTo>
                <a:cubicBezTo>
                  <a:pt x="15" y="57"/>
                  <a:pt x="17" y="54"/>
                  <a:pt x="13" y="51"/>
                </a:cubicBezTo>
                <a:cubicBezTo>
                  <a:pt x="10" y="49"/>
                  <a:pt x="9" y="47"/>
                  <a:pt x="5" y="45"/>
                </a:cubicBezTo>
                <a:cubicBezTo>
                  <a:pt x="4" y="44"/>
                  <a:pt x="2" y="42"/>
                  <a:pt x="0" y="41"/>
                </a:cubicBezTo>
                <a:cubicBezTo>
                  <a:pt x="1" y="34"/>
                  <a:pt x="0" y="26"/>
                  <a:pt x="0" y="22"/>
                </a:cubicBezTo>
                <a:cubicBezTo>
                  <a:pt x="0" y="14"/>
                  <a:pt x="3" y="11"/>
                  <a:pt x="7" y="7"/>
                </a:cubicBezTo>
                <a:cubicBezTo>
                  <a:pt x="22" y="0"/>
                  <a:pt x="22" y="0"/>
                  <a:pt x="22" y="0"/>
                </a:cubicBezTo>
                <a:cubicBezTo>
                  <a:pt x="22" y="2"/>
                  <a:pt x="24" y="4"/>
                  <a:pt x="28" y="7"/>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53" name="Freeform 149"/>
          <p:cNvSpPr>
            <a:spLocks/>
          </p:cNvSpPr>
          <p:nvPr>
            <p:custDataLst>
              <p:tags r:id="rId32"/>
            </p:custDataLst>
          </p:nvPr>
        </p:nvSpPr>
        <p:spPr bwMode="gray">
          <a:xfrm>
            <a:off x="3633037" y="3634497"/>
            <a:ext cx="383201" cy="290733"/>
          </a:xfrm>
          <a:custGeom>
            <a:avLst/>
            <a:gdLst>
              <a:gd name="T0" fmla="*/ 90 w 106"/>
              <a:gd name="T1" fmla="*/ 16 h 109"/>
              <a:gd name="T2" fmla="*/ 97 w 106"/>
              <a:gd name="T3" fmla="*/ 17 h 109"/>
              <a:gd name="T4" fmla="*/ 92 w 106"/>
              <a:gd name="T5" fmla="*/ 37 h 109"/>
              <a:gd name="T6" fmla="*/ 104 w 106"/>
              <a:gd name="T7" fmla="*/ 48 h 109"/>
              <a:gd name="T8" fmla="*/ 102 w 106"/>
              <a:gd name="T9" fmla="*/ 63 h 109"/>
              <a:gd name="T10" fmla="*/ 98 w 106"/>
              <a:gd name="T11" fmla="*/ 68 h 109"/>
              <a:gd name="T12" fmla="*/ 83 w 106"/>
              <a:gd name="T13" fmla="*/ 75 h 109"/>
              <a:gd name="T14" fmla="*/ 76 w 106"/>
              <a:gd name="T15" fmla="*/ 90 h 109"/>
              <a:gd name="T16" fmla="*/ 76 w 106"/>
              <a:gd name="T17" fmla="*/ 109 h 109"/>
              <a:gd name="T18" fmla="*/ 68 w 106"/>
              <a:gd name="T19" fmla="*/ 103 h 109"/>
              <a:gd name="T20" fmla="*/ 51 w 106"/>
              <a:gd name="T21" fmla="*/ 93 h 109"/>
              <a:gd name="T22" fmla="*/ 48 w 106"/>
              <a:gd name="T23" fmla="*/ 91 h 109"/>
              <a:gd name="T24" fmla="*/ 55 w 106"/>
              <a:gd name="T25" fmla="*/ 81 h 109"/>
              <a:gd name="T26" fmla="*/ 46 w 106"/>
              <a:gd name="T27" fmla="*/ 68 h 109"/>
              <a:gd name="T28" fmla="*/ 20 w 106"/>
              <a:gd name="T29" fmla="*/ 44 h 109"/>
              <a:gd name="T30" fmla="*/ 6 w 106"/>
              <a:gd name="T31" fmla="*/ 19 h 109"/>
              <a:gd name="T32" fmla="*/ 8 w 106"/>
              <a:gd name="T33" fmla="*/ 3 h 109"/>
              <a:gd name="T34" fmla="*/ 22 w 106"/>
              <a:gd name="T35" fmla="*/ 11 h 109"/>
              <a:gd name="T36" fmla="*/ 35 w 106"/>
              <a:gd name="T37" fmla="*/ 3 h 109"/>
              <a:gd name="T38" fmla="*/ 59 w 106"/>
              <a:gd name="T39" fmla="*/ 9 h 109"/>
              <a:gd name="T40" fmla="*/ 80 w 106"/>
              <a:gd name="T41" fmla="*/ 13 h 109"/>
              <a:gd name="T42" fmla="*/ 90 w 106"/>
              <a:gd name="T43"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6" h="109">
                <a:moveTo>
                  <a:pt x="90" y="16"/>
                </a:moveTo>
                <a:cubicBezTo>
                  <a:pt x="93" y="17"/>
                  <a:pt x="95" y="17"/>
                  <a:pt x="97" y="17"/>
                </a:cubicBezTo>
                <a:cubicBezTo>
                  <a:pt x="101" y="19"/>
                  <a:pt x="89" y="35"/>
                  <a:pt x="92" y="37"/>
                </a:cubicBezTo>
                <a:cubicBezTo>
                  <a:pt x="94" y="40"/>
                  <a:pt x="104" y="45"/>
                  <a:pt x="104" y="48"/>
                </a:cubicBezTo>
                <a:cubicBezTo>
                  <a:pt x="105" y="51"/>
                  <a:pt x="106" y="63"/>
                  <a:pt x="102" y="63"/>
                </a:cubicBezTo>
                <a:cubicBezTo>
                  <a:pt x="100" y="63"/>
                  <a:pt x="96" y="64"/>
                  <a:pt x="98" y="68"/>
                </a:cubicBezTo>
                <a:cubicBezTo>
                  <a:pt x="83" y="75"/>
                  <a:pt x="83" y="75"/>
                  <a:pt x="83" y="75"/>
                </a:cubicBezTo>
                <a:cubicBezTo>
                  <a:pt x="79" y="79"/>
                  <a:pt x="76" y="82"/>
                  <a:pt x="76" y="90"/>
                </a:cubicBezTo>
                <a:cubicBezTo>
                  <a:pt x="76" y="94"/>
                  <a:pt x="77" y="102"/>
                  <a:pt x="76" y="109"/>
                </a:cubicBezTo>
                <a:cubicBezTo>
                  <a:pt x="73" y="107"/>
                  <a:pt x="70" y="105"/>
                  <a:pt x="68" y="103"/>
                </a:cubicBezTo>
                <a:cubicBezTo>
                  <a:pt x="65" y="101"/>
                  <a:pt x="57" y="96"/>
                  <a:pt x="51" y="93"/>
                </a:cubicBezTo>
                <a:cubicBezTo>
                  <a:pt x="50" y="92"/>
                  <a:pt x="49" y="92"/>
                  <a:pt x="48" y="91"/>
                </a:cubicBezTo>
                <a:cubicBezTo>
                  <a:pt x="51" y="88"/>
                  <a:pt x="55" y="83"/>
                  <a:pt x="55" y="81"/>
                </a:cubicBezTo>
                <a:cubicBezTo>
                  <a:pt x="55" y="78"/>
                  <a:pt x="52" y="73"/>
                  <a:pt x="46" y="68"/>
                </a:cubicBezTo>
                <a:cubicBezTo>
                  <a:pt x="40" y="63"/>
                  <a:pt x="25" y="52"/>
                  <a:pt x="20" y="44"/>
                </a:cubicBezTo>
                <a:cubicBezTo>
                  <a:pt x="16" y="36"/>
                  <a:pt x="7" y="25"/>
                  <a:pt x="6" y="19"/>
                </a:cubicBezTo>
                <a:cubicBezTo>
                  <a:pt x="6" y="12"/>
                  <a:pt x="0" y="5"/>
                  <a:pt x="8" y="3"/>
                </a:cubicBezTo>
                <a:cubicBezTo>
                  <a:pt x="15" y="0"/>
                  <a:pt x="21" y="13"/>
                  <a:pt x="22" y="11"/>
                </a:cubicBezTo>
                <a:cubicBezTo>
                  <a:pt x="24" y="9"/>
                  <a:pt x="28" y="3"/>
                  <a:pt x="35" y="3"/>
                </a:cubicBezTo>
                <a:cubicBezTo>
                  <a:pt x="42" y="3"/>
                  <a:pt x="52" y="9"/>
                  <a:pt x="59" y="9"/>
                </a:cubicBezTo>
                <a:cubicBezTo>
                  <a:pt x="66" y="9"/>
                  <a:pt x="75" y="8"/>
                  <a:pt x="80" y="13"/>
                </a:cubicBezTo>
                <a:cubicBezTo>
                  <a:pt x="83" y="15"/>
                  <a:pt x="87" y="16"/>
                  <a:pt x="90" y="16"/>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54" name="Freeform 150"/>
          <p:cNvSpPr>
            <a:spLocks/>
          </p:cNvSpPr>
          <p:nvPr>
            <p:custDataLst>
              <p:tags r:id="rId33"/>
            </p:custDataLst>
          </p:nvPr>
        </p:nvSpPr>
        <p:spPr bwMode="gray">
          <a:xfrm>
            <a:off x="3436645" y="1299775"/>
            <a:ext cx="845434" cy="1329568"/>
          </a:xfrm>
          <a:custGeom>
            <a:avLst/>
            <a:gdLst>
              <a:gd name="T0" fmla="*/ 233 w 233"/>
              <a:gd name="T1" fmla="*/ 114 h 497"/>
              <a:gd name="T2" fmla="*/ 219 w 233"/>
              <a:gd name="T3" fmla="*/ 117 h 497"/>
              <a:gd name="T4" fmla="*/ 207 w 233"/>
              <a:gd name="T5" fmla="*/ 114 h 497"/>
              <a:gd name="T6" fmla="*/ 196 w 233"/>
              <a:gd name="T7" fmla="*/ 131 h 497"/>
              <a:gd name="T8" fmla="*/ 195 w 233"/>
              <a:gd name="T9" fmla="*/ 142 h 497"/>
              <a:gd name="T10" fmla="*/ 195 w 233"/>
              <a:gd name="T11" fmla="*/ 166 h 497"/>
              <a:gd name="T12" fmla="*/ 179 w 233"/>
              <a:gd name="T13" fmla="*/ 193 h 497"/>
              <a:gd name="T14" fmla="*/ 154 w 233"/>
              <a:gd name="T15" fmla="*/ 209 h 497"/>
              <a:gd name="T16" fmla="*/ 134 w 233"/>
              <a:gd name="T17" fmla="*/ 236 h 497"/>
              <a:gd name="T18" fmla="*/ 128 w 233"/>
              <a:gd name="T19" fmla="*/ 248 h 497"/>
              <a:gd name="T20" fmla="*/ 119 w 233"/>
              <a:gd name="T21" fmla="*/ 291 h 497"/>
              <a:gd name="T22" fmla="*/ 128 w 233"/>
              <a:gd name="T23" fmla="*/ 307 h 497"/>
              <a:gd name="T24" fmla="*/ 138 w 233"/>
              <a:gd name="T25" fmla="*/ 314 h 497"/>
              <a:gd name="T26" fmla="*/ 151 w 233"/>
              <a:gd name="T27" fmla="*/ 331 h 497"/>
              <a:gd name="T28" fmla="*/ 143 w 233"/>
              <a:gd name="T29" fmla="*/ 347 h 497"/>
              <a:gd name="T30" fmla="*/ 141 w 233"/>
              <a:gd name="T31" fmla="*/ 363 h 497"/>
              <a:gd name="T32" fmla="*/ 127 w 233"/>
              <a:gd name="T33" fmla="*/ 360 h 497"/>
              <a:gd name="T34" fmla="*/ 107 w 233"/>
              <a:gd name="T35" fmla="*/ 379 h 497"/>
              <a:gd name="T36" fmla="*/ 110 w 233"/>
              <a:gd name="T37" fmla="*/ 391 h 497"/>
              <a:gd name="T38" fmla="*/ 102 w 233"/>
              <a:gd name="T39" fmla="*/ 423 h 497"/>
              <a:gd name="T40" fmla="*/ 101 w 233"/>
              <a:gd name="T41" fmla="*/ 438 h 497"/>
              <a:gd name="T42" fmla="*/ 83 w 233"/>
              <a:gd name="T43" fmla="*/ 472 h 497"/>
              <a:gd name="T44" fmla="*/ 61 w 233"/>
              <a:gd name="T45" fmla="*/ 475 h 497"/>
              <a:gd name="T46" fmla="*/ 49 w 233"/>
              <a:gd name="T47" fmla="*/ 484 h 497"/>
              <a:gd name="T48" fmla="*/ 46 w 233"/>
              <a:gd name="T49" fmla="*/ 496 h 497"/>
              <a:gd name="T50" fmla="*/ 26 w 233"/>
              <a:gd name="T51" fmla="*/ 495 h 497"/>
              <a:gd name="T52" fmla="*/ 25 w 233"/>
              <a:gd name="T53" fmla="*/ 482 h 497"/>
              <a:gd name="T54" fmla="*/ 24 w 233"/>
              <a:gd name="T55" fmla="*/ 454 h 497"/>
              <a:gd name="T56" fmla="*/ 20 w 233"/>
              <a:gd name="T57" fmla="*/ 443 h 497"/>
              <a:gd name="T58" fmla="*/ 15 w 233"/>
              <a:gd name="T59" fmla="*/ 416 h 497"/>
              <a:gd name="T60" fmla="*/ 7 w 233"/>
              <a:gd name="T61" fmla="*/ 399 h 497"/>
              <a:gd name="T62" fmla="*/ 1 w 233"/>
              <a:gd name="T63" fmla="*/ 377 h 497"/>
              <a:gd name="T64" fmla="*/ 0 w 233"/>
              <a:gd name="T65" fmla="*/ 355 h 497"/>
              <a:gd name="T66" fmla="*/ 14 w 233"/>
              <a:gd name="T67" fmla="*/ 360 h 497"/>
              <a:gd name="T68" fmla="*/ 19 w 233"/>
              <a:gd name="T69" fmla="*/ 333 h 497"/>
              <a:gd name="T70" fmla="*/ 30 w 233"/>
              <a:gd name="T71" fmla="*/ 287 h 497"/>
              <a:gd name="T72" fmla="*/ 42 w 233"/>
              <a:gd name="T73" fmla="*/ 270 h 497"/>
              <a:gd name="T74" fmla="*/ 37 w 233"/>
              <a:gd name="T75" fmla="*/ 228 h 497"/>
              <a:gd name="T76" fmla="*/ 55 w 233"/>
              <a:gd name="T77" fmla="*/ 175 h 497"/>
              <a:gd name="T78" fmla="*/ 76 w 233"/>
              <a:gd name="T79" fmla="*/ 161 h 497"/>
              <a:gd name="T80" fmla="*/ 85 w 233"/>
              <a:gd name="T81" fmla="*/ 128 h 497"/>
              <a:gd name="T82" fmla="*/ 96 w 233"/>
              <a:gd name="T83" fmla="*/ 100 h 497"/>
              <a:gd name="T84" fmla="*/ 115 w 233"/>
              <a:gd name="T85" fmla="*/ 71 h 497"/>
              <a:gd name="T86" fmla="*/ 126 w 233"/>
              <a:gd name="T87" fmla="*/ 39 h 497"/>
              <a:gd name="T88" fmla="*/ 145 w 233"/>
              <a:gd name="T89" fmla="*/ 38 h 497"/>
              <a:gd name="T90" fmla="*/ 170 w 233"/>
              <a:gd name="T91" fmla="*/ 21 h 497"/>
              <a:gd name="T92" fmla="*/ 177 w 233"/>
              <a:gd name="T93" fmla="*/ 0 h 497"/>
              <a:gd name="T94" fmla="*/ 201 w 233"/>
              <a:gd name="T95" fmla="*/ 23 h 497"/>
              <a:gd name="T96" fmla="*/ 222 w 233"/>
              <a:gd name="T97" fmla="*/ 58 h 497"/>
              <a:gd name="T98" fmla="*/ 225 w 233"/>
              <a:gd name="T99" fmla="*/ 9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3" h="497">
                <a:moveTo>
                  <a:pt x="225" y="95"/>
                </a:moveTo>
                <a:cubicBezTo>
                  <a:pt x="227" y="99"/>
                  <a:pt x="231" y="108"/>
                  <a:pt x="233" y="114"/>
                </a:cubicBezTo>
                <a:cubicBezTo>
                  <a:pt x="233" y="114"/>
                  <a:pt x="233" y="114"/>
                  <a:pt x="233" y="114"/>
                </a:cubicBezTo>
                <a:cubicBezTo>
                  <a:pt x="227" y="115"/>
                  <a:pt x="221" y="115"/>
                  <a:pt x="219" y="117"/>
                </a:cubicBezTo>
                <a:cubicBezTo>
                  <a:pt x="216" y="119"/>
                  <a:pt x="217" y="120"/>
                  <a:pt x="214" y="118"/>
                </a:cubicBezTo>
                <a:cubicBezTo>
                  <a:pt x="212" y="116"/>
                  <a:pt x="208" y="112"/>
                  <a:pt x="207" y="114"/>
                </a:cubicBezTo>
                <a:cubicBezTo>
                  <a:pt x="205" y="116"/>
                  <a:pt x="208" y="126"/>
                  <a:pt x="206" y="128"/>
                </a:cubicBezTo>
                <a:cubicBezTo>
                  <a:pt x="205" y="129"/>
                  <a:pt x="197" y="130"/>
                  <a:pt x="196" y="131"/>
                </a:cubicBezTo>
                <a:cubicBezTo>
                  <a:pt x="194" y="132"/>
                  <a:pt x="190" y="133"/>
                  <a:pt x="192" y="136"/>
                </a:cubicBezTo>
                <a:cubicBezTo>
                  <a:pt x="194" y="140"/>
                  <a:pt x="197" y="140"/>
                  <a:pt x="195" y="142"/>
                </a:cubicBezTo>
                <a:cubicBezTo>
                  <a:pt x="193" y="145"/>
                  <a:pt x="187" y="150"/>
                  <a:pt x="189" y="152"/>
                </a:cubicBezTo>
                <a:cubicBezTo>
                  <a:pt x="191" y="155"/>
                  <a:pt x="196" y="163"/>
                  <a:pt x="195" y="166"/>
                </a:cubicBezTo>
                <a:cubicBezTo>
                  <a:pt x="195" y="169"/>
                  <a:pt x="189" y="172"/>
                  <a:pt x="187" y="177"/>
                </a:cubicBezTo>
                <a:cubicBezTo>
                  <a:pt x="185" y="181"/>
                  <a:pt x="181" y="191"/>
                  <a:pt x="179" y="193"/>
                </a:cubicBezTo>
                <a:cubicBezTo>
                  <a:pt x="176" y="195"/>
                  <a:pt x="167" y="201"/>
                  <a:pt x="164" y="202"/>
                </a:cubicBezTo>
                <a:cubicBezTo>
                  <a:pt x="161" y="203"/>
                  <a:pt x="157" y="208"/>
                  <a:pt x="154" y="209"/>
                </a:cubicBezTo>
                <a:cubicBezTo>
                  <a:pt x="152" y="211"/>
                  <a:pt x="149" y="215"/>
                  <a:pt x="146" y="218"/>
                </a:cubicBezTo>
                <a:cubicBezTo>
                  <a:pt x="144" y="222"/>
                  <a:pt x="134" y="235"/>
                  <a:pt x="134" y="236"/>
                </a:cubicBezTo>
                <a:cubicBezTo>
                  <a:pt x="133" y="238"/>
                  <a:pt x="126" y="233"/>
                  <a:pt x="126" y="240"/>
                </a:cubicBezTo>
                <a:cubicBezTo>
                  <a:pt x="125" y="242"/>
                  <a:pt x="130" y="246"/>
                  <a:pt x="128" y="248"/>
                </a:cubicBezTo>
                <a:cubicBezTo>
                  <a:pt x="127" y="251"/>
                  <a:pt x="125" y="264"/>
                  <a:pt x="123" y="268"/>
                </a:cubicBezTo>
                <a:cubicBezTo>
                  <a:pt x="122" y="273"/>
                  <a:pt x="119" y="286"/>
                  <a:pt x="119" y="291"/>
                </a:cubicBezTo>
                <a:cubicBezTo>
                  <a:pt x="119" y="296"/>
                  <a:pt x="120" y="301"/>
                  <a:pt x="122" y="302"/>
                </a:cubicBezTo>
                <a:cubicBezTo>
                  <a:pt x="123" y="304"/>
                  <a:pt x="125" y="307"/>
                  <a:pt x="128" y="307"/>
                </a:cubicBezTo>
                <a:cubicBezTo>
                  <a:pt x="130" y="307"/>
                  <a:pt x="133" y="305"/>
                  <a:pt x="135" y="306"/>
                </a:cubicBezTo>
                <a:cubicBezTo>
                  <a:pt x="135" y="307"/>
                  <a:pt x="136" y="312"/>
                  <a:pt x="138" y="314"/>
                </a:cubicBezTo>
                <a:cubicBezTo>
                  <a:pt x="141" y="315"/>
                  <a:pt x="143" y="316"/>
                  <a:pt x="147" y="320"/>
                </a:cubicBezTo>
                <a:cubicBezTo>
                  <a:pt x="149" y="323"/>
                  <a:pt x="150" y="330"/>
                  <a:pt x="151" y="331"/>
                </a:cubicBezTo>
                <a:cubicBezTo>
                  <a:pt x="153" y="333"/>
                  <a:pt x="155" y="337"/>
                  <a:pt x="155" y="338"/>
                </a:cubicBezTo>
                <a:cubicBezTo>
                  <a:pt x="154" y="340"/>
                  <a:pt x="145" y="345"/>
                  <a:pt x="143" y="347"/>
                </a:cubicBezTo>
                <a:cubicBezTo>
                  <a:pt x="141" y="350"/>
                  <a:pt x="129" y="350"/>
                  <a:pt x="139" y="356"/>
                </a:cubicBezTo>
                <a:cubicBezTo>
                  <a:pt x="142" y="357"/>
                  <a:pt x="143" y="360"/>
                  <a:pt x="141" y="363"/>
                </a:cubicBezTo>
                <a:cubicBezTo>
                  <a:pt x="138" y="365"/>
                  <a:pt x="132" y="371"/>
                  <a:pt x="130" y="372"/>
                </a:cubicBezTo>
                <a:cubicBezTo>
                  <a:pt x="128" y="373"/>
                  <a:pt x="130" y="360"/>
                  <a:pt x="127" y="360"/>
                </a:cubicBezTo>
                <a:cubicBezTo>
                  <a:pt x="119" y="359"/>
                  <a:pt x="125" y="374"/>
                  <a:pt x="119" y="375"/>
                </a:cubicBezTo>
                <a:cubicBezTo>
                  <a:pt x="113" y="375"/>
                  <a:pt x="112" y="381"/>
                  <a:pt x="107" y="379"/>
                </a:cubicBezTo>
                <a:cubicBezTo>
                  <a:pt x="96" y="374"/>
                  <a:pt x="94" y="384"/>
                  <a:pt x="107" y="385"/>
                </a:cubicBezTo>
                <a:cubicBezTo>
                  <a:pt x="115" y="386"/>
                  <a:pt x="111" y="388"/>
                  <a:pt x="110" y="391"/>
                </a:cubicBezTo>
                <a:cubicBezTo>
                  <a:pt x="109" y="394"/>
                  <a:pt x="107" y="400"/>
                  <a:pt x="105" y="407"/>
                </a:cubicBezTo>
                <a:cubicBezTo>
                  <a:pt x="105" y="413"/>
                  <a:pt x="104" y="421"/>
                  <a:pt x="102" y="423"/>
                </a:cubicBezTo>
                <a:cubicBezTo>
                  <a:pt x="101" y="426"/>
                  <a:pt x="96" y="430"/>
                  <a:pt x="97" y="431"/>
                </a:cubicBezTo>
                <a:cubicBezTo>
                  <a:pt x="98" y="433"/>
                  <a:pt x="103" y="435"/>
                  <a:pt x="101" y="438"/>
                </a:cubicBezTo>
                <a:cubicBezTo>
                  <a:pt x="99" y="441"/>
                  <a:pt x="89" y="465"/>
                  <a:pt x="87" y="468"/>
                </a:cubicBezTo>
                <a:cubicBezTo>
                  <a:pt x="85" y="470"/>
                  <a:pt x="85" y="472"/>
                  <a:pt x="83" y="472"/>
                </a:cubicBezTo>
                <a:cubicBezTo>
                  <a:pt x="82" y="472"/>
                  <a:pt x="63" y="466"/>
                  <a:pt x="62" y="467"/>
                </a:cubicBezTo>
                <a:cubicBezTo>
                  <a:pt x="60" y="468"/>
                  <a:pt x="63" y="475"/>
                  <a:pt x="61" y="475"/>
                </a:cubicBezTo>
                <a:cubicBezTo>
                  <a:pt x="59" y="475"/>
                  <a:pt x="53" y="474"/>
                  <a:pt x="51" y="476"/>
                </a:cubicBezTo>
                <a:cubicBezTo>
                  <a:pt x="50" y="479"/>
                  <a:pt x="49" y="482"/>
                  <a:pt x="49" y="484"/>
                </a:cubicBezTo>
                <a:cubicBezTo>
                  <a:pt x="49" y="486"/>
                  <a:pt x="54" y="489"/>
                  <a:pt x="52" y="491"/>
                </a:cubicBezTo>
                <a:cubicBezTo>
                  <a:pt x="50" y="493"/>
                  <a:pt x="48" y="496"/>
                  <a:pt x="46" y="496"/>
                </a:cubicBezTo>
                <a:cubicBezTo>
                  <a:pt x="44" y="495"/>
                  <a:pt x="41" y="493"/>
                  <a:pt x="38" y="494"/>
                </a:cubicBezTo>
                <a:cubicBezTo>
                  <a:pt x="34" y="495"/>
                  <a:pt x="30" y="497"/>
                  <a:pt x="26" y="495"/>
                </a:cubicBezTo>
                <a:cubicBezTo>
                  <a:pt x="21" y="493"/>
                  <a:pt x="21" y="489"/>
                  <a:pt x="21" y="488"/>
                </a:cubicBezTo>
                <a:cubicBezTo>
                  <a:pt x="21" y="486"/>
                  <a:pt x="25" y="484"/>
                  <a:pt x="25" y="482"/>
                </a:cubicBezTo>
                <a:cubicBezTo>
                  <a:pt x="24" y="479"/>
                  <a:pt x="17" y="463"/>
                  <a:pt x="18" y="460"/>
                </a:cubicBezTo>
                <a:cubicBezTo>
                  <a:pt x="19" y="458"/>
                  <a:pt x="22" y="456"/>
                  <a:pt x="24" y="454"/>
                </a:cubicBezTo>
                <a:cubicBezTo>
                  <a:pt x="25" y="452"/>
                  <a:pt x="28" y="449"/>
                  <a:pt x="24" y="447"/>
                </a:cubicBezTo>
                <a:cubicBezTo>
                  <a:pt x="21" y="445"/>
                  <a:pt x="21" y="445"/>
                  <a:pt x="20" y="443"/>
                </a:cubicBezTo>
                <a:cubicBezTo>
                  <a:pt x="19" y="441"/>
                  <a:pt x="16" y="432"/>
                  <a:pt x="16" y="428"/>
                </a:cubicBezTo>
                <a:cubicBezTo>
                  <a:pt x="15" y="424"/>
                  <a:pt x="16" y="418"/>
                  <a:pt x="15" y="416"/>
                </a:cubicBezTo>
                <a:cubicBezTo>
                  <a:pt x="14" y="415"/>
                  <a:pt x="8" y="420"/>
                  <a:pt x="8" y="415"/>
                </a:cubicBezTo>
                <a:cubicBezTo>
                  <a:pt x="8" y="410"/>
                  <a:pt x="10" y="407"/>
                  <a:pt x="7" y="399"/>
                </a:cubicBezTo>
                <a:cubicBezTo>
                  <a:pt x="6" y="397"/>
                  <a:pt x="5" y="390"/>
                  <a:pt x="4" y="388"/>
                </a:cubicBezTo>
                <a:cubicBezTo>
                  <a:pt x="2" y="382"/>
                  <a:pt x="0" y="383"/>
                  <a:pt x="1" y="377"/>
                </a:cubicBezTo>
                <a:cubicBezTo>
                  <a:pt x="2" y="373"/>
                  <a:pt x="2" y="359"/>
                  <a:pt x="1" y="356"/>
                </a:cubicBezTo>
                <a:cubicBezTo>
                  <a:pt x="1" y="356"/>
                  <a:pt x="0" y="355"/>
                  <a:pt x="0" y="355"/>
                </a:cubicBezTo>
                <a:cubicBezTo>
                  <a:pt x="2" y="354"/>
                  <a:pt x="4" y="353"/>
                  <a:pt x="5" y="353"/>
                </a:cubicBezTo>
                <a:cubicBezTo>
                  <a:pt x="7" y="353"/>
                  <a:pt x="12" y="364"/>
                  <a:pt x="14" y="360"/>
                </a:cubicBezTo>
                <a:cubicBezTo>
                  <a:pt x="16" y="357"/>
                  <a:pt x="19" y="355"/>
                  <a:pt x="19" y="355"/>
                </a:cubicBezTo>
                <a:cubicBezTo>
                  <a:pt x="19" y="355"/>
                  <a:pt x="15" y="338"/>
                  <a:pt x="19" y="333"/>
                </a:cubicBezTo>
                <a:cubicBezTo>
                  <a:pt x="23" y="327"/>
                  <a:pt x="31" y="322"/>
                  <a:pt x="33" y="314"/>
                </a:cubicBezTo>
                <a:cubicBezTo>
                  <a:pt x="35" y="306"/>
                  <a:pt x="28" y="291"/>
                  <a:pt x="30" y="287"/>
                </a:cubicBezTo>
                <a:cubicBezTo>
                  <a:pt x="32" y="284"/>
                  <a:pt x="37" y="286"/>
                  <a:pt x="39" y="282"/>
                </a:cubicBezTo>
                <a:cubicBezTo>
                  <a:pt x="41" y="279"/>
                  <a:pt x="42" y="274"/>
                  <a:pt x="42" y="270"/>
                </a:cubicBezTo>
                <a:cubicBezTo>
                  <a:pt x="42" y="265"/>
                  <a:pt x="31" y="258"/>
                  <a:pt x="31" y="255"/>
                </a:cubicBezTo>
                <a:cubicBezTo>
                  <a:pt x="31" y="252"/>
                  <a:pt x="37" y="228"/>
                  <a:pt x="37" y="228"/>
                </a:cubicBezTo>
                <a:cubicBezTo>
                  <a:pt x="37" y="228"/>
                  <a:pt x="36" y="208"/>
                  <a:pt x="37" y="204"/>
                </a:cubicBezTo>
                <a:cubicBezTo>
                  <a:pt x="38" y="200"/>
                  <a:pt x="49" y="177"/>
                  <a:pt x="55" y="175"/>
                </a:cubicBezTo>
                <a:cubicBezTo>
                  <a:pt x="60" y="174"/>
                  <a:pt x="69" y="177"/>
                  <a:pt x="71" y="177"/>
                </a:cubicBezTo>
                <a:cubicBezTo>
                  <a:pt x="73" y="177"/>
                  <a:pt x="75" y="165"/>
                  <a:pt x="76" y="161"/>
                </a:cubicBezTo>
                <a:cubicBezTo>
                  <a:pt x="77" y="158"/>
                  <a:pt x="67" y="155"/>
                  <a:pt x="70" y="151"/>
                </a:cubicBezTo>
                <a:cubicBezTo>
                  <a:pt x="73" y="148"/>
                  <a:pt x="85" y="135"/>
                  <a:pt x="85" y="128"/>
                </a:cubicBezTo>
                <a:cubicBezTo>
                  <a:pt x="85" y="120"/>
                  <a:pt x="87" y="100"/>
                  <a:pt x="87" y="100"/>
                </a:cubicBezTo>
                <a:cubicBezTo>
                  <a:pt x="96" y="100"/>
                  <a:pt x="96" y="100"/>
                  <a:pt x="96" y="100"/>
                </a:cubicBezTo>
                <a:cubicBezTo>
                  <a:pt x="96" y="100"/>
                  <a:pt x="101" y="96"/>
                  <a:pt x="103" y="95"/>
                </a:cubicBezTo>
                <a:cubicBezTo>
                  <a:pt x="104" y="94"/>
                  <a:pt x="114" y="76"/>
                  <a:pt x="115" y="71"/>
                </a:cubicBezTo>
                <a:cubicBezTo>
                  <a:pt x="116" y="67"/>
                  <a:pt x="113" y="58"/>
                  <a:pt x="115" y="55"/>
                </a:cubicBezTo>
                <a:cubicBezTo>
                  <a:pt x="117" y="52"/>
                  <a:pt x="126" y="39"/>
                  <a:pt x="126" y="39"/>
                </a:cubicBezTo>
                <a:cubicBezTo>
                  <a:pt x="135" y="32"/>
                  <a:pt x="135" y="32"/>
                  <a:pt x="135" y="32"/>
                </a:cubicBezTo>
                <a:cubicBezTo>
                  <a:pt x="135" y="32"/>
                  <a:pt x="143" y="38"/>
                  <a:pt x="145" y="38"/>
                </a:cubicBezTo>
                <a:cubicBezTo>
                  <a:pt x="147" y="37"/>
                  <a:pt x="147" y="19"/>
                  <a:pt x="149" y="17"/>
                </a:cubicBezTo>
                <a:cubicBezTo>
                  <a:pt x="152" y="14"/>
                  <a:pt x="170" y="21"/>
                  <a:pt x="170" y="21"/>
                </a:cubicBezTo>
                <a:cubicBezTo>
                  <a:pt x="177" y="0"/>
                  <a:pt x="177" y="0"/>
                  <a:pt x="177" y="0"/>
                </a:cubicBezTo>
                <a:cubicBezTo>
                  <a:pt x="177" y="0"/>
                  <a:pt x="177" y="0"/>
                  <a:pt x="177" y="0"/>
                </a:cubicBezTo>
                <a:cubicBezTo>
                  <a:pt x="187" y="12"/>
                  <a:pt x="187" y="12"/>
                  <a:pt x="187" y="12"/>
                </a:cubicBezTo>
                <a:cubicBezTo>
                  <a:pt x="191" y="15"/>
                  <a:pt x="195" y="21"/>
                  <a:pt x="201" y="23"/>
                </a:cubicBezTo>
                <a:cubicBezTo>
                  <a:pt x="203" y="24"/>
                  <a:pt x="217" y="33"/>
                  <a:pt x="219" y="37"/>
                </a:cubicBezTo>
                <a:cubicBezTo>
                  <a:pt x="221" y="40"/>
                  <a:pt x="221" y="53"/>
                  <a:pt x="222" y="58"/>
                </a:cubicBezTo>
                <a:cubicBezTo>
                  <a:pt x="223" y="62"/>
                  <a:pt x="227" y="72"/>
                  <a:pt x="229" y="75"/>
                </a:cubicBezTo>
                <a:cubicBezTo>
                  <a:pt x="231" y="78"/>
                  <a:pt x="222" y="89"/>
                  <a:pt x="225" y="95"/>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55" name="Freeform 151"/>
          <p:cNvSpPr>
            <a:spLocks/>
          </p:cNvSpPr>
          <p:nvPr>
            <p:custDataLst>
              <p:tags r:id="rId34"/>
            </p:custDataLst>
          </p:nvPr>
        </p:nvSpPr>
        <p:spPr bwMode="gray">
          <a:xfrm>
            <a:off x="3906066" y="2381158"/>
            <a:ext cx="102985" cy="109911"/>
          </a:xfrm>
          <a:custGeom>
            <a:avLst/>
            <a:gdLst>
              <a:gd name="T0" fmla="*/ 24 w 28"/>
              <a:gd name="T1" fmla="*/ 0 h 41"/>
              <a:gd name="T2" fmla="*/ 27 w 28"/>
              <a:gd name="T3" fmla="*/ 5 h 41"/>
              <a:gd name="T4" fmla="*/ 19 w 28"/>
              <a:gd name="T5" fmla="*/ 10 h 41"/>
              <a:gd name="T6" fmla="*/ 17 w 28"/>
              <a:gd name="T7" fmla="*/ 21 h 41"/>
              <a:gd name="T8" fmla="*/ 9 w 28"/>
              <a:gd name="T9" fmla="*/ 34 h 41"/>
              <a:gd name="T10" fmla="*/ 7 w 28"/>
              <a:gd name="T11" fmla="*/ 41 h 41"/>
              <a:gd name="T12" fmla="*/ 3 w 28"/>
              <a:gd name="T13" fmla="*/ 39 h 41"/>
              <a:gd name="T14" fmla="*/ 3 w 28"/>
              <a:gd name="T15" fmla="*/ 26 h 41"/>
              <a:gd name="T16" fmla="*/ 3 w 28"/>
              <a:gd name="T17" fmla="*/ 15 h 41"/>
              <a:gd name="T18" fmla="*/ 12 w 28"/>
              <a:gd name="T19" fmla="*/ 3 h 41"/>
              <a:gd name="T20" fmla="*/ 24 w 28"/>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1">
                <a:moveTo>
                  <a:pt x="24" y="0"/>
                </a:moveTo>
                <a:cubicBezTo>
                  <a:pt x="28" y="0"/>
                  <a:pt x="28" y="4"/>
                  <a:pt x="27" y="5"/>
                </a:cubicBezTo>
                <a:cubicBezTo>
                  <a:pt x="27" y="6"/>
                  <a:pt x="20" y="7"/>
                  <a:pt x="19" y="10"/>
                </a:cubicBezTo>
                <a:cubicBezTo>
                  <a:pt x="17" y="13"/>
                  <a:pt x="17" y="18"/>
                  <a:pt x="17" y="21"/>
                </a:cubicBezTo>
                <a:cubicBezTo>
                  <a:pt x="18" y="24"/>
                  <a:pt x="9" y="32"/>
                  <a:pt x="9" y="34"/>
                </a:cubicBezTo>
                <a:cubicBezTo>
                  <a:pt x="9" y="37"/>
                  <a:pt x="9" y="41"/>
                  <a:pt x="7" y="41"/>
                </a:cubicBezTo>
                <a:cubicBezTo>
                  <a:pt x="7" y="41"/>
                  <a:pt x="3" y="39"/>
                  <a:pt x="3" y="39"/>
                </a:cubicBezTo>
                <a:cubicBezTo>
                  <a:pt x="2" y="37"/>
                  <a:pt x="3" y="30"/>
                  <a:pt x="3" y="26"/>
                </a:cubicBezTo>
                <a:cubicBezTo>
                  <a:pt x="2" y="21"/>
                  <a:pt x="0" y="19"/>
                  <a:pt x="3" y="15"/>
                </a:cubicBezTo>
                <a:cubicBezTo>
                  <a:pt x="5" y="11"/>
                  <a:pt x="10" y="5"/>
                  <a:pt x="12" y="3"/>
                </a:cubicBezTo>
                <a:cubicBezTo>
                  <a:pt x="14" y="1"/>
                  <a:pt x="19" y="0"/>
                  <a:pt x="24" y="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56" name="Freeform 152"/>
          <p:cNvSpPr>
            <a:spLocks/>
          </p:cNvSpPr>
          <p:nvPr>
            <p:custDataLst>
              <p:tags r:id="rId35"/>
            </p:custDataLst>
          </p:nvPr>
        </p:nvSpPr>
        <p:spPr bwMode="gray">
          <a:xfrm>
            <a:off x="3379165" y="3058351"/>
            <a:ext cx="577196" cy="246413"/>
          </a:xfrm>
          <a:custGeom>
            <a:avLst/>
            <a:gdLst>
              <a:gd name="T0" fmla="*/ 155 w 159"/>
              <a:gd name="T1" fmla="*/ 50 h 92"/>
              <a:gd name="T2" fmla="*/ 159 w 159"/>
              <a:gd name="T3" fmla="*/ 60 h 92"/>
              <a:gd name="T4" fmla="*/ 153 w 159"/>
              <a:gd name="T5" fmla="*/ 61 h 92"/>
              <a:gd name="T6" fmla="*/ 130 w 159"/>
              <a:gd name="T7" fmla="*/ 83 h 92"/>
              <a:gd name="T8" fmla="*/ 110 w 159"/>
              <a:gd name="T9" fmla="*/ 88 h 92"/>
              <a:gd name="T10" fmla="*/ 110 w 159"/>
              <a:gd name="T11" fmla="*/ 88 h 92"/>
              <a:gd name="T12" fmla="*/ 67 w 159"/>
              <a:gd name="T13" fmla="*/ 76 h 92"/>
              <a:gd name="T14" fmla="*/ 54 w 159"/>
              <a:gd name="T15" fmla="*/ 90 h 92"/>
              <a:gd name="T16" fmla="*/ 37 w 159"/>
              <a:gd name="T17" fmla="*/ 85 h 92"/>
              <a:gd name="T18" fmla="*/ 28 w 159"/>
              <a:gd name="T19" fmla="*/ 74 h 92"/>
              <a:gd name="T20" fmla="*/ 18 w 159"/>
              <a:gd name="T21" fmla="*/ 64 h 92"/>
              <a:gd name="T22" fmla="*/ 6 w 159"/>
              <a:gd name="T23" fmla="*/ 50 h 92"/>
              <a:gd name="T24" fmla="*/ 8 w 159"/>
              <a:gd name="T25" fmla="*/ 37 h 92"/>
              <a:gd name="T26" fmla="*/ 0 w 159"/>
              <a:gd name="T27" fmla="*/ 26 h 92"/>
              <a:gd name="T28" fmla="*/ 9 w 159"/>
              <a:gd name="T29" fmla="*/ 20 h 92"/>
              <a:gd name="T30" fmla="*/ 33 w 159"/>
              <a:gd name="T31" fmla="*/ 12 h 92"/>
              <a:gd name="T32" fmla="*/ 52 w 159"/>
              <a:gd name="T33" fmla="*/ 0 h 92"/>
              <a:gd name="T34" fmla="*/ 64 w 159"/>
              <a:gd name="T35" fmla="*/ 10 h 92"/>
              <a:gd name="T36" fmla="*/ 71 w 159"/>
              <a:gd name="T37" fmla="*/ 2 h 92"/>
              <a:gd name="T38" fmla="*/ 95 w 159"/>
              <a:gd name="T39" fmla="*/ 13 h 92"/>
              <a:gd name="T40" fmla="*/ 95 w 159"/>
              <a:gd name="T41" fmla="*/ 22 h 92"/>
              <a:gd name="T42" fmla="*/ 107 w 159"/>
              <a:gd name="T43" fmla="*/ 38 h 92"/>
              <a:gd name="T44" fmla="*/ 113 w 159"/>
              <a:gd name="T45" fmla="*/ 25 h 92"/>
              <a:gd name="T46" fmla="*/ 132 w 159"/>
              <a:gd name="T47" fmla="*/ 30 h 92"/>
              <a:gd name="T48" fmla="*/ 135 w 159"/>
              <a:gd name="T49" fmla="*/ 41 h 92"/>
              <a:gd name="T50" fmla="*/ 149 w 159"/>
              <a:gd name="T51" fmla="*/ 44 h 92"/>
              <a:gd name="T52" fmla="*/ 155 w 159"/>
              <a:gd name="T53" fmla="*/ 5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92">
                <a:moveTo>
                  <a:pt x="155" y="50"/>
                </a:moveTo>
                <a:cubicBezTo>
                  <a:pt x="159" y="60"/>
                  <a:pt x="159" y="60"/>
                  <a:pt x="159" y="60"/>
                </a:cubicBezTo>
                <a:cubicBezTo>
                  <a:pt x="156" y="60"/>
                  <a:pt x="154" y="60"/>
                  <a:pt x="153" y="61"/>
                </a:cubicBezTo>
                <a:cubicBezTo>
                  <a:pt x="149" y="62"/>
                  <a:pt x="133" y="81"/>
                  <a:pt x="130" y="83"/>
                </a:cubicBezTo>
                <a:cubicBezTo>
                  <a:pt x="128" y="86"/>
                  <a:pt x="115" y="88"/>
                  <a:pt x="110" y="88"/>
                </a:cubicBezTo>
                <a:cubicBezTo>
                  <a:pt x="110" y="88"/>
                  <a:pt x="110" y="88"/>
                  <a:pt x="110" y="88"/>
                </a:cubicBezTo>
                <a:cubicBezTo>
                  <a:pt x="105" y="88"/>
                  <a:pt x="70" y="76"/>
                  <a:pt x="67" y="76"/>
                </a:cubicBezTo>
                <a:cubicBezTo>
                  <a:pt x="64" y="77"/>
                  <a:pt x="59" y="89"/>
                  <a:pt x="54" y="90"/>
                </a:cubicBezTo>
                <a:cubicBezTo>
                  <a:pt x="49" y="92"/>
                  <a:pt x="39" y="84"/>
                  <a:pt x="37" y="85"/>
                </a:cubicBezTo>
                <a:cubicBezTo>
                  <a:pt x="28" y="74"/>
                  <a:pt x="28" y="74"/>
                  <a:pt x="28" y="74"/>
                </a:cubicBezTo>
                <a:cubicBezTo>
                  <a:pt x="28" y="74"/>
                  <a:pt x="21" y="66"/>
                  <a:pt x="18" y="64"/>
                </a:cubicBezTo>
                <a:cubicBezTo>
                  <a:pt x="16" y="62"/>
                  <a:pt x="9" y="56"/>
                  <a:pt x="6" y="50"/>
                </a:cubicBezTo>
                <a:cubicBezTo>
                  <a:pt x="2" y="45"/>
                  <a:pt x="10" y="41"/>
                  <a:pt x="8" y="37"/>
                </a:cubicBezTo>
                <a:cubicBezTo>
                  <a:pt x="6" y="33"/>
                  <a:pt x="0" y="30"/>
                  <a:pt x="0" y="26"/>
                </a:cubicBezTo>
                <a:cubicBezTo>
                  <a:pt x="0" y="23"/>
                  <a:pt x="4" y="20"/>
                  <a:pt x="9" y="20"/>
                </a:cubicBezTo>
                <a:cubicBezTo>
                  <a:pt x="14" y="19"/>
                  <a:pt x="30" y="12"/>
                  <a:pt x="33" y="12"/>
                </a:cubicBezTo>
                <a:cubicBezTo>
                  <a:pt x="36" y="11"/>
                  <a:pt x="49" y="1"/>
                  <a:pt x="52" y="0"/>
                </a:cubicBezTo>
                <a:cubicBezTo>
                  <a:pt x="56" y="0"/>
                  <a:pt x="60" y="12"/>
                  <a:pt x="64" y="10"/>
                </a:cubicBezTo>
                <a:cubicBezTo>
                  <a:pt x="71" y="2"/>
                  <a:pt x="71" y="2"/>
                  <a:pt x="71" y="2"/>
                </a:cubicBezTo>
                <a:cubicBezTo>
                  <a:pt x="73" y="5"/>
                  <a:pt x="87" y="10"/>
                  <a:pt x="95" y="13"/>
                </a:cubicBezTo>
                <a:cubicBezTo>
                  <a:pt x="103" y="16"/>
                  <a:pt x="93" y="20"/>
                  <a:pt x="95" y="22"/>
                </a:cubicBezTo>
                <a:cubicBezTo>
                  <a:pt x="96" y="24"/>
                  <a:pt x="105" y="39"/>
                  <a:pt x="107" y="38"/>
                </a:cubicBezTo>
                <a:cubicBezTo>
                  <a:pt x="107" y="38"/>
                  <a:pt x="112" y="27"/>
                  <a:pt x="113" y="25"/>
                </a:cubicBezTo>
                <a:cubicBezTo>
                  <a:pt x="115" y="24"/>
                  <a:pt x="130" y="29"/>
                  <a:pt x="132" y="30"/>
                </a:cubicBezTo>
                <a:cubicBezTo>
                  <a:pt x="134" y="31"/>
                  <a:pt x="132" y="38"/>
                  <a:pt x="135" y="41"/>
                </a:cubicBezTo>
                <a:cubicBezTo>
                  <a:pt x="137" y="44"/>
                  <a:pt x="144" y="41"/>
                  <a:pt x="149" y="44"/>
                </a:cubicBezTo>
                <a:cubicBezTo>
                  <a:pt x="155" y="47"/>
                  <a:pt x="155" y="50"/>
                  <a:pt x="155" y="50"/>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57" name="Freeform 153"/>
          <p:cNvSpPr>
            <a:spLocks/>
          </p:cNvSpPr>
          <p:nvPr>
            <p:custDataLst>
              <p:tags r:id="rId36"/>
            </p:custDataLst>
          </p:nvPr>
        </p:nvSpPr>
        <p:spPr bwMode="gray">
          <a:xfrm>
            <a:off x="3101345" y="3260445"/>
            <a:ext cx="692156" cy="253504"/>
          </a:xfrm>
          <a:custGeom>
            <a:avLst/>
            <a:gdLst>
              <a:gd name="T0" fmla="*/ 187 w 191"/>
              <a:gd name="T1" fmla="*/ 16 h 94"/>
              <a:gd name="T2" fmla="*/ 191 w 191"/>
              <a:gd name="T3" fmla="*/ 41 h 94"/>
              <a:gd name="T4" fmla="*/ 180 w 191"/>
              <a:gd name="T5" fmla="*/ 56 h 94"/>
              <a:gd name="T6" fmla="*/ 169 w 191"/>
              <a:gd name="T7" fmla="*/ 80 h 94"/>
              <a:gd name="T8" fmla="*/ 157 w 191"/>
              <a:gd name="T9" fmla="*/ 82 h 94"/>
              <a:gd name="T10" fmla="*/ 131 w 191"/>
              <a:gd name="T11" fmla="*/ 85 h 94"/>
              <a:gd name="T12" fmla="*/ 119 w 191"/>
              <a:gd name="T13" fmla="*/ 92 h 94"/>
              <a:gd name="T14" fmla="*/ 103 w 191"/>
              <a:gd name="T15" fmla="*/ 90 h 94"/>
              <a:gd name="T16" fmla="*/ 99 w 191"/>
              <a:gd name="T17" fmla="*/ 91 h 94"/>
              <a:gd name="T18" fmla="*/ 91 w 191"/>
              <a:gd name="T19" fmla="*/ 86 h 94"/>
              <a:gd name="T20" fmla="*/ 70 w 191"/>
              <a:gd name="T21" fmla="*/ 78 h 94"/>
              <a:gd name="T22" fmla="*/ 64 w 191"/>
              <a:gd name="T23" fmla="*/ 66 h 94"/>
              <a:gd name="T24" fmla="*/ 46 w 191"/>
              <a:gd name="T25" fmla="*/ 65 h 94"/>
              <a:gd name="T26" fmla="*/ 34 w 191"/>
              <a:gd name="T27" fmla="*/ 72 h 94"/>
              <a:gd name="T28" fmla="*/ 23 w 191"/>
              <a:gd name="T29" fmla="*/ 68 h 94"/>
              <a:gd name="T30" fmla="*/ 22 w 191"/>
              <a:gd name="T31" fmla="*/ 64 h 94"/>
              <a:gd name="T32" fmla="*/ 8 w 191"/>
              <a:gd name="T33" fmla="*/ 64 h 94"/>
              <a:gd name="T34" fmla="*/ 0 w 191"/>
              <a:gd name="T35" fmla="*/ 54 h 94"/>
              <a:gd name="T36" fmla="*/ 3 w 191"/>
              <a:gd name="T37" fmla="*/ 44 h 94"/>
              <a:gd name="T38" fmla="*/ 11 w 191"/>
              <a:gd name="T39" fmla="*/ 38 h 94"/>
              <a:gd name="T40" fmla="*/ 21 w 191"/>
              <a:gd name="T41" fmla="*/ 49 h 94"/>
              <a:gd name="T42" fmla="*/ 32 w 191"/>
              <a:gd name="T43" fmla="*/ 44 h 94"/>
              <a:gd name="T44" fmla="*/ 48 w 191"/>
              <a:gd name="T45" fmla="*/ 48 h 94"/>
              <a:gd name="T46" fmla="*/ 70 w 191"/>
              <a:gd name="T47" fmla="*/ 43 h 94"/>
              <a:gd name="T48" fmla="*/ 84 w 191"/>
              <a:gd name="T49" fmla="*/ 51 h 94"/>
              <a:gd name="T50" fmla="*/ 94 w 191"/>
              <a:gd name="T51" fmla="*/ 51 h 94"/>
              <a:gd name="T52" fmla="*/ 92 w 191"/>
              <a:gd name="T53" fmla="*/ 36 h 94"/>
              <a:gd name="T54" fmla="*/ 86 w 191"/>
              <a:gd name="T55" fmla="*/ 26 h 94"/>
              <a:gd name="T56" fmla="*/ 114 w 191"/>
              <a:gd name="T57" fmla="*/ 9 h 94"/>
              <a:gd name="T58" fmla="*/ 131 w 191"/>
              <a:gd name="T59" fmla="*/ 14 h 94"/>
              <a:gd name="T60" fmla="*/ 144 w 191"/>
              <a:gd name="T61" fmla="*/ 0 h 94"/>
              <a:gd name="T62" fmla="*/ 187 w 191"/>
              <a:gd name="T63" fmla="*/ 12 h 94"/>
              <a:gd name="T64" fmla="*/ 187 w 191"/>
              <a:gd name="T65" fmla="*/ 12 h 94"/>
              <a:gd name="T66" fmla="*/ 187 w 191"/>
              <a:gd name="T67" fmla="*/ 1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 h="94">
                <a:moveTo>
                  <a:pt x="187" y="16"/>
                </a:moveTo>
                <a:cubicBezTo>
                  <a:pt x="187" y="18"/>
                  <a:pt x="191" y="35"/>
                  <a:pt x="191" y="41"/>
                </a:cubicBezTo>
                <a:cubicBezTo>
                  <a:pt x="191" y="47"/>
                  <a:pt x="184" y="51"/>
                  <a:pt x="180" y="56"/>
                </a:cubicBezTo>
                <a:cubicBezTo>
                  <a:pt x="176" y="62"/>
                  <a:pt x="171" y="72"/>
                  <a:pt x="169" y="80"/>
                </a:cubicBezTo>
                <a:cubicBezTo>
                  <a:pt x="157" y="82"/>
                  <a:pt x="157" y="82"/>
                  <a:pt x="157" y="82"/>
                </a:cubicBezTo>
                <a:cubicBezTo>
                  <a:pt x="151" y="81"/>
                  <a:pt x="136" y="82"/>
                  <a:pt x="131" y="85"/>
                </a:cubicBezTo>
                <a:cubicBezTo>
                  <a:pt x="127" y="88"/>
                  <a:pt x="123" y="94"/>
                  <a:pt x="119" y="92"/>
                </a:cubicBezTo>
                <a:cubicBezTo>
                  <a:pt x="114" y="89"/>
                  <a:pt x="108" y="88"/>
                  <a:pt x="103" y="90"/>
                </a:cubicBezTo>
                <a:cubicBezTo>
                  <a:pt x="101" y="90"/>
                  <a:pt x="100" y="90"/>
                  <a:pt x="99" y="91"/>
                </a:cubicBezTo>
                <a:cubicBezTo>
                  <a:pt x="91" y="86"/>
                  <a:pt x="91" y="86"/>
                  <a:pt x="91" y="86"/>
                </a:cubicBezTo>
                <a:cubicBezTo>
                  <a:pt x="91" y="86"/>
                  <a:pt x="75" y="79"/>
                  <a:pt x="70" y="78"/>
                </a:cubicBezTo>
                <a:cubicBezTo>
                  <a:pt x="65" y="76"/>
                  <a:pt x="68" y="66"/>
                  <a:pt x="64" y="66"/>
                </a:cubicBezTo>
                <a:cubicBezTo>
                  <a:pt x="61" y="65"/>
                  <a:pt x="46" y="65"/>
                  <a:pt x="46" y="65"/>
                </a:cubicBezTo>
                <a:cubicBezTo>
                  <a:pt x="46" y="65"/>
                  <a:pt x="37" y="73"/>
                  <a:pt x="34" y="72"/>
                </a:cubicBezTo>
                <a:cubicBezTo>
                  <a:pt x="23" y="68"/>
                  <a:pt x="23" y="68"/>
                  <a:pt x="23" y="68"/>
                </a:cubicBezTo>
                <a:cubicBezTo>
                  <a:pt x="23" y="66"/>
                  <a:pt x="23" y="65"/>
                  <a:pt x="22" y="64"/>
                </a:cubicBezTo>
                <a:cubicBezTo>
                  <a:pt x="20" y="62"/>
                  <a:pt x="13" y="66"/>
                  <a:pt x="8" y="64"/>
                </a:cubicBezTo>
                <a:cubicBezTo>
                  <a:pt x="4" y="61"/>
                  <a:pt x="0" y="60"/>
                  <a:pt x="0" y="54"/>
                </a:cubicBezTo>
                <a:cubicBezTo>
                  <a:pt x="1" y="49"/>
                  <a:pt x="4" y="46"/>
                  <a:pt x="3" y="44"/>
                </a:cubicBezTo>
                <a:cubicBezTo>
                  <a:pt x="11" y="38"/>
                  <a:pt x="11" y="38"/>
                  <a:pt x="11" y="38"/>
                </a:cubicBezTo>
                <a:cubicBezTo>
                  <a:pt x="14" y="39"/>
                  <a:pt x="16" y="49"/>
                  <a:pt x="21" y="49"/>
                </a:cubicBezTo>
                <a:cubicBezTo>
                  <a:pt x="26" y="49"/>
                  <a:pt x="28" y="43"/>
                  <a:pt x="32" y="44"/>
                </a:cubicBezTo>
                <a:cubicBezTo>
                  <a:pt x="36" y="44"/>
                  <a:pt x="44" y="49"/>
                  <a:pt x="48" y="48"/>
                </a:cubicBezTo>
                <a:cubicBezTo>
                  <a:pt x="51" y="46"/>
                  <a:pt x="66" y="43"/>
                  <a:pt x="70" y="43"/>
                </a:cubicBezTo>
                <a:cubicBezTo>
                  <a:pt x="75" y="43"/>
                  <a:pt x="80" y="50"/>
                  <a:pt x="84" y="51"/>
                </a:cubicBezTo>
                <a:cubicBezTo>
                  <a:pt x="88" y="52"/>
                  <a:pt x="92" y="53"/>
                  <a:pt x="94" y="51"/>
                </a:cubicBezTo>
                <a:cubicBezTo>
                  <a:pt x="94" y="48"/>
                  <a:pt x="94" y="39"/>
                  <a:pt x="92" y="36"/>
                </a:cubicBezTo>
                <a:cubicBezTo>
                  <a:pt x="90" y="33"/>
                  <a:pt x="84" y="27"/>
                  <a:pt x="86" y="26"/>
                </a:cubicBezTo>
                <a:cubicBezTo>
                  <a:pt x="88" y="26"/>
                  <a:pt x="110" y="10"/>
                  <a:pt x="114" y="9"/>
                </a:cubicBezTo>
                <a:cubicBezTo>
                  <a:pt x="116" y="8"/>
                  <a:pt x="126" y="16"/>
                  <a:pt x="131" y="14"/>
                </a:cubicBezTo>
                <a:cubicBezTo>
                  <a:pt x="136" y="13"/>
                  <a:pt x="141" y="1"/>
                  <a:pt x="144" y="0"/>
                </a:cubicBezTo>
                <a:cubicBezTo>
                  <a:pt x="147" y="0"/>
                  <a:pt x="182" y="12"/>
                  <a:pt x="187" y="12"/>
                </a:cubicBezTo>
                <a:cubicBezTo>
                  <a:pt x="187" y="12"/>
                  <a:pt x="187" y="12"/>
                  <a:pt x="187" y="12"/>
                </a:cubicBezTo>
                <a:lnTo>
                  <a:pt x="187" y="16"/>
                </a:ln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58" name="Freeform 154"/>
          <p:cNvSpPr>
            <a:spLocks/>
          </p:cNvSpPr>
          <p:nvPr>
            <p:custDataLst>
              <p:tags r:id="rId37"/>
            </p:custDataLst>
          </p:nvPr>
        </p:nvSpPr>
        <p:spPr bwMode="gray">
          <a:xfrm>
            <a:off x="2861846" y="2632888"/>
            <a:ext cx="773585" cy="771149"/>
          </a:xfrm>
          <a:custGeom>
            <a:avLst/>
            <a:gdLst>
              <a:gd name="T0" fmla="*/ 207 w 214"/>
              <a:gd name="T1" fmla="*/ 169 h 288"/>
              <a:gd name="T2" fmla="*/ 176 w 214"/>
              <a:gd name="T3" fmla="*/ 171 h 288"/>
              <a:gd name="T4" fmla="*/ 143 w 214"/>
              <a:gd name="T5" fmla="*/ 185 h 288"/>
              <a:gd name="T6" fmla="*/ 149 w 214"/>
              <a:gd name="T7" fmla="*/ 209 h 288"/>
              <a:gd name="T8" fmla="*/ 171 w 214"/>
              <a:gd name="T9" fmla="*/ 233 h 288"/>
              <a:gd name="T10" fmla="*/ 152 w 214"/>
              <a:gd name="T11" fmla="*/ 261 h 288"/>
              <a:gd name="T12" fmla="*/ 160 w 214"/>
              <a:gd name="T13" fmla="*/ 286 h 288"/>
              <a:gd name="T14" fmla="*/ 136 w 214"/>
              <a:gd name="T15" fmla="*/ 278 h 288"/>
              <a:gd name="T16" fmla="*/ 98 w 214"/>
              <a:gd name="T17" fmla="*/ 279 h 288"/>
              <a:gd name="T18" fmla="*/ 77 w 214"/>
              <a:gd name="T19" fmla="*/ 273 h 288"/>
              <a:gd name="T20" fmla="*/ 68 w 214"/>
              <a:gd name="T21" fmla="*/ 276 h 288"/>
              <a:gd name="T22" fmla="*/ 26 w 214"/>
              <a:gd name="T23" fmla="*/ 265 h 288"/>
              <a:gd name="T24" fmla="*/ 39 w 214"/>
              <a:gd name="T25" fmla="*/ 220 h 288"/>
              <a:gd name="T26" fmla="*/ 0 w 214"/>
              <a:gd name="T27" fmla="*/ 198 h 288"/>
              <a:gd name="T28" fmla="*/ 13 w 214"/>
              <a:gd name="T29" fmla="*/ 180 h 288"/>
              <a:gd name="T30" fmla="*/ 2 w 214"/>
              <a:gd name="T31" fmla="*/ 162 h 288"/>
              <a:gd name="T32" fmla="*/ 6 w 214"/>
              <a:gd name="T33" fmla="*/ 141 h 288"/>
              <a:gd name="T34" fmla="*/ 7 w 214"/>
              <a:gd name="T35" fmla="*/ 110 h 288"/>
              <a:gd name="T36" fmla="*/ 25 w 214"/>
              <a:gd name="T37" fmla="*/ 103 h 288"/>
              <a:gd name="T38" fmla="*/ 29 w 214"/>
              <a:gd name="T39" fmla="*/ 84 h 288"/>
              <a:gd name="T40" fmla="*/ 41 w 214"/>
              <a:gd name="T41" fmla="*/ 74 h 288"/>
              <a:gd name="T42" fmla="*/ 46 w 214"/>
              <a:gd name="T43" fmla="*/ 57 h 288"/>
              <a:gd name="T44" fmla="*/ 49 w 214"/>
              <a:gd name="T45" fmla="*/ 53 h 288"/>
              <a:gd name="T46" fmla="*/ 49 w 214"/>
              <a:gd name="T47" fmla="*/ 43 h 288"/>
              <a:gd name="T48" fmla="*/ 68 w 214"/>
              <a:gd name="T49" fmla="*/ 48 h 288"/>
              <a:gd name="T50" fmla="*/ 71 w 214"/>
              <a:gd name="T51" fmla="*/ 56 h 288"/>
              <a:gd name="T52" fmla="*/ 82 w 214"/>
              <a:gd name="T53" fmla="*/ 39 h 288"/>
              <a:gd name="T54" fmla="*/ 95 w 214"/>
              <a:gd name="T55" fmla="*/ 42 h 288"/>
              <a:gd name="T56" fmla="*/ 91 w 214"/>
              <a:gd name="T57" fmla="*/ 29 h 288"/>
              <a:gd name="T58" fmla="*/ 83 w 214"/>
              <a:gd name="T59" fmla="*/ 22 h 288"/>
              <a:gd name="T60" fmla="*/ 88 w 214"/>
              <a:gd name="T61" fmla="*/ 6 h 288"/>
              <a:gd name="T62" fmla="*/ 96 w 214"/>
              <a:gd name="T63" fmla="*/ 3 h 288"/>
              <a:gd name="T64" fmla="*/ 116 w 214"/>
              <a:gd name="T65" fmla="*/ 3 h 288"/>
              <a:gd name="T66" fmla="*/ 116 w 214"/>
              <a:gd name="T67" fmla="*/ 14 h 288"/>
              <a:gd name="T68" fmla="*/ 127 w 214"/>
              <a:gd name="T69" fmla="*/ 28 h 288"/>
              <a:gd name="T70" fmla="*/ 137 w 214"/>
              <a:gd name="T71" fmla="*/ 22 h 288"/>
              <a:gd name="T72" fmla="*/ 138 w 214"/>
              <a:gd name="T73" fmla="*/ 31 h 288"/>
              <a:gd name="T74" fmla="*/ 129 w 214"/>
              <a:gd name="T75" fmla="*/ 39 h 288"/>
              <a:gd name="T76" fmla="*/ 143 w 214"/>
              <a:gd name="T77" fmla="*/ 45 h 288"/>
              <a:gd name="T78" fmla="*/ 159 w 214"/>
              <a:gd name="T79" fmla="*/ 37 h 288"/>
              <a:gd name="T80" fmla="*/ 182 w 214"/>
              <a:gd name="T81" fmla="*/ 32 h 288"/>
              <a:gd name="T82" fmla="*/ 188 w 214"/>
              <a:gd name="T83" fmla="*/ 22 h 288"/>
              <a:gd name="T84" fmla="*/ 193 w 214"/>
              <a:gd name="T85" fmla="*/ 33 h 288"/>
              <a:gd name="T86" fmla="*/ 185 w 214"/>
              <a:gd name="T87" fmla="*/ 37 h 288"/>
              <a:gd name="T88" fmla="*/ 195 w 214"/>
              <a:gd name="T89" fmla="*/ 45 h 288"/>
              <a:gd name="T90" fmla="*/ 208 w 214"/>
              <a:gd name="T91" fmla="*/ 50 h 288"/>
              <a:gd name="T92" fmla="*/ 198 w 214"/>
              <a:gd name="T93" fmla="*/ 89 h 288"/>
              <a:gd name="T94" fmla="*/ 208 w 214"/>
              <a:gd name="T95" fmla="*/ 123 h 288"/>
              <a:gd name="T96" fmla="*/ 214 w 214"/>
              <a:gd name="T97" fmla="*/ 1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4" h="288">
                <a:moveTo>
                  <a:pt x="214" y="161"/>
                </a:moveTo>
                <a:cubicBezTo>
                  <a:pt x="207" y="169"/>
                  <a:pt x="207" y="169"/>
                  <a:pt x="207" y="169"/>
                </a:cubicBezTo>
                <a:cubicBezTo>
                  <a:pt x="203" y="171"/>
                  <a:pt x="199" y="159"/>
                  <a:pt x="195" y="159"/>
                </a:cubicBezTo>
                <a:cubicBezTo>
                  <a:pt x="192" y="160"/>
                  <a:pt x="179" y="170"/>
                  <a:pt x="176" y="171"/>
                </a:cubicBezTo>
                <a:cubicBezTo>
                  <a:pt x="173" y="171"/>
                  <a:pt x="157" y="178"/>
                  <a:pt x="152" y="179"/>
                </a:cubicBezTo>
                <a:cubicBezTo>
                  <a:pt x="147" y="179"/>
                  <a:pt x="143" y="182"/>
                  <a:pt x="143" y="185"/>
                </a:cubicBezTo>
                <a:cubicBezTo>
                  <a:pt x="143" y="189"/>
                  <a:pt x="149" y="192"/>
                  <a:pt x="151" y="196"/>
                </a:cubicBezTo>
                <a:cubicBezTo>
                  <a:pt x="153" y="200"/>
                  <a:pt x="145" y="204"/>
                  <a:pt x="149" y="209"/>
                </a:cubicBezTo>
                <a:cubicBezTo>
                  <a:pt x="152" y="215"/>
                  <a:pt x="159" y="221"/>
                  <a:pt x="161" y="223"/>
                </a:cubicBezTo>
                <a:cubicBezTo>
                  <a:pt x="164" y="225"/>
                  <a:pt x="171" y="233"/>
                  <a:pt x="171" y="233"/>
                </a:cubicBezTo>
                <a:cubicBezTo>
                  <a:pt x="180" y="244"/>
                  <a:pt x="180" y="244"/>
                  <a:pt x="180" y="244"/>
                </a:cubicBezTo>
                <a:cubicBezTo>
                  <a:pt x="176" y="245"/>
                  <a:pt x="154" y="261"/>
                  <a:pt x="152" y="261"/>
                </a:cubicBezTo>
                <a:cubicBezTo>
                  <a:pt x="150" y="262"/>
                  <a:pt x="156" y="268"/>
                  <a:pt x="158" y="271"/>
                </a:cubicBezTo>
                <a:cubicBezTo>
                  <a:pt x="160" y="274"/>
                  <a:pt x="160" y="283"/>
                  <a:pt x="160" y="286"/>
                </a:cubicBezTo>
                <a:cubicBezTo>
                  <a:pt x="158" y="288"/>
                  <a:pt x="154" y="287"/>
                  <a:pt x="150" y="286"/>
                </a:cubicBezTo>
                <a:cubicBezTo>
                  <a:pt x="146" y="285"/>
                  <a:pt x="141" y="278"/>
                  <a:pt x="136" y="278"/>
                </a:cubicBezTo>
                <a:cubicBezTo>
                  <a:pt x="132" y="278"/>
                  <a:pt x="117" y="281"/>
                  <a:pt x="114" y="283"/>
                </a:cubicBezTo>
                <a:cubicBezTo>
                  <a:pt x="110" y="284"/>
                  <a:pt x="102" y="279"/>
                  <a:pt x="98" y="279"/>
                </a:cubicBezTo>
                <a:cubicBezTo>
                  <a:pt x="94" y="278"/>
                  <a:pt x="92" y="284"/>
                  <a:pt x="87" y="284"/>
                </a:cubicBezTo>
                <a:cubicBezTo>
                  <a:pt x="82" y="284"/>
                  <a:pt x="80" y="274"/>
                  <a:pt x="77" y="273"/>
                </a:cubicBezTo>
                <a:cubicBezTo>
                  <a:pt x="69" y="279"/>
                  <a:pt x="69" y="279"/>
                  <a:pt x="69" y="279"/>
                </a:cubicBezTo>
                <a:cubicBezTo>
                  <a:pt x="69" y="278"/>
                  <a:pt x="69" y="277"/>
                  <a:pt x="68" y="276"/>
                </a:cubicBezTo>
                <a:cubicBezTo>
                  <a:pt x="64" y="272"/>
                  <a:pt x="55" y="266"/>
                  <a:pt x="50" y="266"/>
                </a:cubicBezTo>
                <a:cubicBezTo>
                  <a:pt x="46" y="266"/>
                  <a:pt x="26" y="265"/>
                  <a:pt x="26" y="265"/>
                </a:cubicBezTo>
                <a:cubicBezTo>
                  <a:pt x="17" y="263"/>
                  <a:pt x="17" y="263"/>
                  <a:pt x="17" y="263"/>
                </a:cubicBezTo>
                <a:cubicBezTo>
                  <a:pt x="19" y="257"/>
                  <a:pt x="37" y="222"/>
                  <a:pt x="39" y="220"/>
                </a:cubicBezTo>
                <a:cubicBezTo>
                  <a:pt x="41" y="218"/>
                  <a:pt x="18" y="213"/>
                  <a:pt x="11" y="207"/>
                </a:cubicBezTo>
                <a:cubicBezTo>
                  <a:pt x="6" y="204"/>
                  <a:pt x="3" y="201"/>
                  <a:pt x="0" y="198"/>
                </a:cubicBezTo>
                <a:cubicBezTo>
                  <a:pt x="0" y="198"/>
                  <a:pt x="3" y="191"/>
                  <a:pt x="5" y="190"/>
                </a:cubicBezTo>
                <a:cubicBezTo>
                  <a:pt x="7" y="188"/>
                  <a:pt x="13" y="182"/>
                  <a:pt x="13" y="180"/>
                </a:cubicBezTo>
                <a:cubicBezTo>
                  <a:pt x="13" y="179"/>
                  <a:pt x="7" y="176"/>
                  <a:pt x="6" y="171"/>
                </a:cubicBezTo>
                <a:cubicBezTo>
                  <a:pt x="2" y="162"/>
                  <a:pt x="2" y="162"/>
                  <a:pt x="2" y="162"/>
                </a:cubicBezTo>
                <a:cubicBezTo>
                  <a:pt x="4" y="160"/>
                  <a:pt x="7" y="159"/>
                  <a:pt x="9" y="158"/>
                </a:cubicBezTo>
                <a:cubicBezTo>
                  <a:pt x="12" y="156"/>
                  <a:pt x="8" y="147"/>
                  <a:pt x="6" y="141"/>
                </a:cubicBezTo>
                <a:cubicBezTo>
                  <a:pt x="5" y="135"/>
                  <a:pt x="10" y="128"/>
                  <a:pt x="11" y="124"/>
                </a:cubicBezTo>
                <a:cubicBezTo>
                  <a:pt x="13" y="121"/>
                  <a:pt x="8" y="113"/>
                  <a:pt x="7" y="110"/>
                </a:cubicBezTo>
                <a:cubicBezTo>
                  <a:pt x="6" y="108"/>
                  <a:pt x="9" y="104"/>
                  <a:pt x="11" y="103"/>
                </a:cubicBezTo>
                <a:cubicBezTo>
                  <a:pt x="14" y="102"/>
                  <a:pt x="22" y="103"/>
                  <a:pt x="25" y="103"/>
                </a:cubicBezTo>
                <a:cubicBezTo>
                  <a:pt x="28" y="104"/>
                  <a:pt x="33" y="95"/>
                  <a:pt x="37" y="91"/>
                </a:cubicBezTo>
                <a:cubicBezTo>
                  <a:pt x="40" y="87"/>
                  <a:pt x="29" y="84"/>
                  <a:pt x="29" y="84"/>
                </a:cubicBezTo>
                <a:cubicBezTo>
                  <a:pt x="32" y="75"/>
                  <a:pt x="32" y="75"/>
                  <a:pt x="32" y="75"/>
                </a:cubicBezTo>
                <a:cubicBezTo>
                  <a:pt x="32" y="75"/>
                  <a:pt x="40" y="76"/>
                  <a:pt x="41" y="74"/>
                </a:cubicBezTo>
                <a:cubicBezTo>
                  <a:pt x="42" y="73"/>
                  <a:pt x="46" y="62"/>
                  <a:pt x="46" y="58"/>
                </a:cubicBezTo>
                <a:cubicBezTo>
                  <a:pt x="46" y="57"/>
                  <a:pt x="46" y="57"/>
                  <a:pt x="46" y="57"/>
                </a:cubicBezTo>
                <a:cubicBezTo>
                  <a:pt x="46" y="57"/>
                  <a:pt x="47" y="57"/>
                  <a:pt x="47" y="57"/>
                </a:cubicBezTo>
                <a:cubicBezTo>
                  <a:pt x="50" y="57"/>
                  <a:pt x="52" y="55"/>
                  <a:pt x="49" y="53"/>
                </a:cubicBezTo>
                <a:cubicBezTo>
                  <a:pt x="46" y="51"/>
                  <a:pt x="44" y="51"/>
                  <a:pt x="45" y="49"/>
                </a:cubicBezTo>
                <a:cubicBezTo>
                  <a:pt x="46" y="46"/>
                  <a:pt x="48" y="43"/>
                  <a:pt x="49" y="43"/>
                </a:cubicBezTo>
                <a:cubicBezTo>
                  <a:pt x="50" y="42"/>
                  <a:pt x="65" y="42"/>
                  <a:pt x="66" y="43"/>
                </a:cubicBezTo>
                <a:cubicBezTo>
                  <a:pt x="67" y="43"/>
                  <a:pt x="69" y="47"/>
                  <a:pt x="68" y="48"/>
                </a:cubicBezTo>
                <a:cubicBezTo>
                  <a:pt x="68" y="50"/>
                  <a:pt x="65" y="51"/>
                  <a:pt x="66" y="52"/>
                </a:cubicBezTo>
                <a:cubicBezTo>
                  <a:pt x="66" y="54"/>
                  <a:pt x="69" y="57"/>
                  <a:pt x="71" y="56"/>
                </a:cubicBezTo>
                <a:cubicBezTo>
                  <a:pt x="81" y="53"/>
                  <a:pt x="74" y="45"/>
                  <a:pt x="75" y="44"/>
                </a:cubicBezTo>
                <a:cubicBezTo>
                  <a:pt x="76" y="43"/>
                  <a:pt x="82" y="38"/>
                  <a:pt x="82" y="39"/>
                </a:cubicBezTo>
                <a:cubicBezTo>
                  <a:pt x="84" y="39"/>
                  <a:pt x="86" y="43"/>
                  <a:pt x="88" y="43"/>
                </a:cubicBezTo>
                <a:cubicBezTo>
                  <a:pt x="90" y="43"/>
                  <a:pt x="94" y="43"/>
                  <a:pt x="95" y="42"/>
                </a:cubicBezTo>
                <a:cubicBezTo>
                  <a:pt x="95" y="40"/>
                  <a:pt x="87" y="35"/>
                  <a:pt x="87" y="33"/>
                </a:cubicBezTo>
                <a:cubicBezTo>
                  <a:pt x="87" y="31"/>
                  <a:pt x="92" y="31"/>
                  <a:pt x="91" y="29"/>
                </a:cubicBezTo>
                <a:cubicBezTo>
                  <a:pt x="90" y="27"/>
                  <a:pt x="87" y="25"/>
                  <a:pt x="85" y="25"/>
                </a:cubicBezTo>
                <a:cubicBezTo>
                  <a:pt x="83" y="24"/>
                  <a:pt x="82" y="24"/>
                  <a:pt x="83" y="22"/>
                </a:cubicBezTo>
                <a:cubicBezTo>
                  <a:pt x="84" y="20"/>
                  <a:pt x="91" y="19"/>
                  <a:pt x="92" y="18"/>
                </a:cubicBezTo>
                <a:cubicBezTo>
                  <a:pt x="93" y="17"/>
                  <a:pt x="89" y="9"/>
                  <a:pt x="88" y="6"/>
                </a:cubicBezTo>
                <a:cubicBezTo>
                  <a:pt x="87" y="4"/>
                  <a:pt x="86" y="2"/>
                  <a:pt x="87" y="0"/>
                </a:cubicBezTo>
                <a:cubicBezTo>
                  <a:pt x="90" y="1"/>
                  <a:pt x="94" y="2"/>
                  <a:pt x="96" y="3"/>
                </a:cubicBezTo>
                <a:cubicBezTo>
                  <a:pt x="101" y="5"/>
                  <a:pt x="105" y="5"/>
                  <a:pt x="108" y="5"/>
                </a:cubicBezTo>
                <a:cubicBezTo>
                  <a:pt x="116" y="3"/>
                  <a:pt x="116" y="3"/>
                  <a:pt x="116" y="3"/>
                </a:cubicBezTo>
                <a:cubicBezTo>
                  <a:pt x="116" y="3"/>
                  <a:pt x="116" y="4"/>
                  <a:pt x="116" y="4"/>
                </a:cubicBezTo>
                <a:cubicBezTo>
                  <a:pt x="117" y="7"/>
                  <a:pt x="117" y="11"/>
                  <a:pt x="116" y="14"/>
                </a:cubicBezTo>
                <a:cubicBezTo>
                  <a:pt x="115" y="16"/>
                  <a:pt x="110" y="19"/>
                  <a:pt x="114" y="21"/>
                </a:cubicBezTo>
                <a:cubicBezTo>
                  <a:pt x="117" y="22"/>
                  <a:pt x="127" y="26"/>
                  <a:pt x="127" y="28"/>
                </a:cubicBezTo>
                <a:cubicBezTo>
                  <a:pt x="128" y="29"/>
                  <a:pt x="132" y="28"/>
                  <a:pt x="133" y="27"/>
                </a:cubicBezTo>
                <a:cubicBezTo>
                  <a:pt x="134" y="26"/>
                  <a:pt x="136" y="22"/>
                  <a:pt x="137" y="22"/>
                </a:cubicBezTo>
                <a:cubicBezTo>
                  <a:pt x="138" y="22"/>
                  <a:pt x="144" y="25"/>
                  <a:pt x="142" y="27"/>
                </a:cubicBezTo>
                <a:cubicBezTo>
                  <a:pt x="141" y="29"/>
                  <a:pt x="138" y="29"/>
                  <a:pt x="138" y="31"/>
                </a:cubicBezTo>
                <a:cubicBezTo>
                  <a:pt x="138" y="33"/>
                  <a:pt x="137" y="36"/>
                  <a:pt x="135" y="36"/>
                </a:cubicBezTo>
                <a:cubicBezTo>
                  <a:pt x="133" y="37"/>
                  <a:pt x="129" y="37"/>
                  <a:pt x="129" y="39"/>
                </a:cubicBezTo>
                <a:cubicBezTo>
                  <a:pt x="129" y="44"/>
                  <a:pt x="136" y="41"/>
                  <a:pt x="137" y="43"/>
                </a:cubicBezTo>
                <a:cubicBezTo>
                  <a:pt x="139" y="44"/>
                  <a:pt x="140" y="46"/>
                  <a:pt x="143" y="45"/>
                </a:cubicBezTo>
                <a:cubicBezTo>
                  <a:pt x="145" y="44"/>
                  <a:pt x="147" y="38"/>
                  <a:pt x="149" y="38"/>
                </a:cubicBezTo>
                <a:cubicBezTo>
                  <a:pt x="150" y="38"/>
                  <a:pt x="158" y="38"/>
                  <a:pt x="159" y="37"/>
                </a:cubicBezTo>
                <a:cubicBezTo>
                  <a:pt x="160" y="36"/>
                  <a:pt x="166" y="29"/>
                  <a:pt x="168" y="28"/>
                </a:cubicBezTo>
                <a:cubicBezTo>
                  <a:pt x="169" y="28"/>
                  <a:pt x="181" y="34"/>
                  <a:pt x="182" y="32"/>
                </a:cubicBezTo>
                <a:cubicBezTo>
                  <a:pt x="184" y="30"/>
                  <a:pt x="182" y="27"/>
                  <a:pt x="183" y="26"/>
                </a:cubicBezTo>
                <a:cubicBezTo>
                  <a:pt x="184" y="25"/>
                  <a:pt x="187" y="21"/>
                  <a:pt x="188" y="22"/>
                </a:cubicBezTo>
                <a:cubicBezTo>
                  <a:pt x="190" y="23"/>
                  <a:pt x="194" y="26"/>
                  <a:pt x="193" y="28"/>
                </a:cubicBezTo>
                <a:cubicBezTo>
                  <a:pt x="192" y="31"/>
                  <a:pt x="191" y="32"/>
                  <a:pt x="193" y="33"/>
                </a:cubicBezTo>
                <a:cubicBezTo>
                  <a:pt x="195" y="35"/>
                  <a:pt x="196" y="38"/>
                  <a:pt x="194" y="38"/>
                </a:cubicBezTo>
                <a:cubicBezTo>
                  <a:pt x="192" y="37"/>
                  <a:pt x="185" y="35"/>
                  <a:pt x="185" y="37"/>
                </a:cubicBezTo>
                <a:cubicBezTo>
                  <a:pt x="184" y="40"/>
                  <a:pt x="186" y="44"/>
                  <a:pt x="187" y="44"/>
                </a:cubicBezTo>
                <a:cubicBezTo>
                  <a:pt x="188" y="45"/>
                  <a:pt x="194" y="44"/>
                  <a:pt x="195" y="45"/>
                </a:cubicBezTo>
                <a:cubicBezTo>
                  <a:pt x="196" y="46"/>
                  <a:pt x="201" y="50"/>
                  <a:pt x="203" y="51"/>
                </a:cubicBezTo>
                <a:cubicBezTo>
                  <a:pt x="204" y="51"/>
                  <a:pt x="206" y="50"/>
                  <a:pt x="208" y="50"/>
                </a:cubicBezTo>
                <a:cubicBezTo>
                  <a:pt x="207" y="59"/>
                  <a:pt x="206" y="72"/>
                  <a:pt x="206" y="76"/>
                </a:cubicBezTo>
                <a:cubicBezTo>
                  <a:pt x="206" y="81"/>
                  <a:pt x="200" y="85"/>
                  <a:pt x="198" y="89"/>
                </a:cubicBezTo>
                <a:cubicBezTo>
                  <a:pt x="196" y="92"/>
                  <a:pt x="203" y="95"/>
                  <a:pt x="208" y="99"/>
                </a:cubicBezTo>
                <a:cubicBezTo>
                  <a:pt x="212" y="103"/>
                  <a:pt x="208" y="116"/>
                  <a:pt x="208" y="123"/>
                </a:cubicBezTo>
                <a:cubicBezTo>
                  <a:pt x="208" y="130"/>
                  <a:pt x="212" y="141"/>
                  <a:pt x="212" y="144"/>
                </a:cubicBezTo>
                <a:cubicBezTo>
                  <a:pt x="214" y="148"/>
                  <a:pt x="210" y="158"/>
                  <a:pt x="214" y="161"/>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59" name="Freeform 155"/>
          <p:cNvSpPr>
            <a:spLocks/>
          </p:cNvSpPr>
          <p:nvPr>
            <p:custDataLst>
              <p:tags r:id="rId38"/>
            </p:custDataLst>
          </p:nvPr>
        </p:nvSpPr>
        <p:spPr bwMode="gray">
          <a:xfrm>
            <a:off x="3680936" y="3833046"/>
            <a:ext cx="62271" cy="17728"/>
          </a:xfrm>
          <a:custGeom>
            <a:avLst/>
            <a:gdLst>
              <a:gd name="T0" fmla="*/ 9 w 18"/>
              <a:gd name="T1" fmla="*/ 0 h 7"/>
              <a:gd name="T2" fmla="*/ 18 w 18"/>
              <a:gd name="T3" fmla="*/ 5 h 7"/>
              <a:gd name="T4" fmla="*/ 10 w 18"/>
              <a:gd name="T5" fmla="*/ 7 h 7"/>
              <a:gd name="T6" fmla="*/ 1 w 18"/>
              <a:gd name="T7" fmla="*/ 4 h 7"/>
              <a:gd name="T8" fmla="*/ 2 w 18"/>
              <a:gd name="T9" fmla="*/ 1 h 7"/>
              <a:gd name="T10" fmla="*/ 9 w 18"/>
              <a:gd name="T11" fmla="*/ 0 h 7"/>
            </a:gdLst>
            <a:ahLst/>
            <a:cxnLst>
              <a:cxn ang="0">
                <a:pos x="T0" y="T1"/>
              </a:cxn>
              <a:cxn ang="0">
                <a:pos x="T2" y="T3"/>
              </a:cxn>
              <a:cxn ang="0">
                <a:pos x="T4" y="T5"/>
              </a:cxn>
              <a:cxn ang="0">
                <a:pos x="T6" y="T7"/>
              </a:cxn>
              <a:cxn ang="0">
                <a:pos x="T8" y="T9"/>
              </a:cxn>
              <a:cxn ang="0">
                <a:pos x="T10" y="T11"/>
              </a:cxn>
            </a:cxnLst>
            <a:rect l="0" t="0" r="r" b="b"/>
            <a:pathLst>
              <a:path w="18" h="7">
                <a:moveTo>
                  <a:pt x="9" y="0"/>
                </a:moveTo>
                <a:cubicBezTo>
                  <a:pt x="11" y="0"/>
                  <a:pt x="18" y="4"/>
                  <a:pt x="18" y="5"/>
                </a:cubicBezTo>
                <a:cubicBezTo>
                  <a:pt x="18" y="7"/>
                  <a:pt x="13" y="7"/>
                  <a:pt x="10" y="7"/>
                </a:cubicBezTo>
                <a:cubicBezTo>
                  <a:pt x="7" y="7"/>
                  <a:pt x="2" y="5"/>
                  <a:pt x="1" y="4"/>
                </a:cubicBezTo>
                <a:cubicBezTo>
                  <a:pt x="0" y="3"/>
                  <a:pt x="1" y="2"/>
                  <a:pt x="2" y="1"/>
                </a:cubicBezTo>
                <a:cubicBezTo>
                  <a:pt x="3" y="0"/>
                  <a:pt x="6" y="0"/>
                  <a:pt x="9" y="0"/>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60" name="Freeform 156"/>
          <p:cNvSpPr>
            <a:spLocks/>
          </p:cNvSpPr>
          <p:nvPr>
            <p:custDataLst>
              <p:tags r:id="rId39"/>
            </p:custDataLst>
          </p:nvPr>
        </p:nvSpPr>
        <p:spPr bwMode="gray">
          <a:xfrm>
            <a:off x="3508495" y="3645134"/>
            <a:ext cx="33530" cy="70911"/>
          </a:xfrm>
          <a:custGeom>
            <a:avLst/>
            <a:gdLst>
              <a:gd name="T0" fmla="*/ 5 w 9"/>
              <a:gd name="T1" fmla="*/ 3 h 27"/>
              <a:gd name="T2" fmla="*/ 8 w 9"/>
              <a:gd name="T3" fmla="*/ 7 h 27"/>
              <a:gd name="T4" fmla="*/ 7 w 9"/>
              <a:gd name="T5" fmla="*/ 19 h 27"/>
              <a:gd name="T6" fmla="*/ 6 w 9"/>
              <a:gd name="T7" fmla="*/ 26 h 27"/>
              <a:gd name="T8" fmla="*/ 1 w 9"/>
              <a:gd name="T9" fmla="*/ 21 h 27"/>
              <a:gd name="T10" fmla="*/ 1 w 9"/>
              <a:gd name="T11" fmla="*/ 11 h 27"/>
              <a:gd name="T12" fmla="*/ 5 w 9"/>
              <a:gd name="T13" fmla="*/ 3 h 27"/>
            </a:gdLst>
            <a:ahLst/>
            <a:cxnLst>
              <a:cxn ang="0">
                <a:pos x="T0" y="T1"/>
              </a:cxn>
              <a:cxn ang="0">
                <a:pos x="T2" y="T3"/>
              </a:cxn>
              <a:cxn ang="0">
                <a:pos x="T4" y="T5"/>
              </a:cxn>
              <a:cxn ang="0">
                <a:pos x="T6" y="T7"/>
              </a:cxn>
              <a:cxn ang="0">
                <a:pos x="T8" y="T9"/>
              </a:cxn>
              <a:cxn ang="0">
                <a:pos x="T10" y="T11"/>
              </a:cxn>
              <a:cxn ang="0">
                <a:pos x="T12" y="T13"/>
              </a:cxn>
            </a:cxnLst>
            <a:rect l="0" t="0" r="r" b="b"/>
            <a:pathLst>
              <a:path w="9" h="27">
                <a:moveTo>
                  <a:pt x="5" y="3"/>
                </a:moveTo>
                <a:cubicBezTo>
                  <a:pt x="7" y="0"/>
                  <a:pt x="9" y="4"/>
                  <a:pt x="8" y="7"/>
                </a:cubicBezTo>
                <a:cubicBezTo>
                  <a:pt x="7" y="9"/>
                  <a:pt x="6" y="16"/>
                  <a:pt x="7" y="19"/>
                </a:cubicBezTo>
                <a:cubicBezTo>
                  <a:pt x="7" y="22"/>
                  <a:pt x="7" y="25"/>
                  <a:pt x="6" y="26"/>
                </a:cubicBezTo>
                <a:cubicBezTo>
                  <a:pt x="5" y="27"/>
                  <a:pt x="1" y="22"/>
                  <a:pt x="1" y="21"/>
                </a:cubicBezTo>
                <a:cubicBezTo>
                  <a:pt x="0" y="20"/>
                  <a:pt x="1" y="14"/>
                  <a:pt x="1" y="11"/>
                </a:cubicBezTo>
                <a:cubicBezTo>
                  <a:pt x="2" y="8"/>
                  <a:pt x="4" y="4"/>
                  <a:pt x="5" y="3"/>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61" name="Freeform 157"/>
          <p:cNvSpPr>
            <a:spLocks/>
          </p:cNvSpPr>
          <p:nvPr>
            <p:custDataLst>
              <p:tags r:id="rId40"/>
            </p:custDataLst>
          </p:nvPr>
        </p:nvSpPr>
        <p:spPr bwMode="gray">
          <a:xfrm>
            <a:off x="3441437" y="3508632"/>
            <a:ext cx="531691" cy="368734"/>
          </a:xfrm>
          <a:custGeom>
            <a:avLst/>
            <a:gdLst>
              <a:gd name="T0" fmla="*/ 9 w 147"/>
              <a:gd name="T1" fmla="*/ 30 h 138"/>
              <a:gd name="T2" fmla="*/ 15 w 147"/>
              <a:gd name="T3" fmla="*/ 31 h 138"/>
              <a:gd name="T4" fmla="*/ 41 w 147"/>
              <a:gd name="T5" fmla="*/ 34 h 138"/>
              <a:gd name="T6" fmla="*/ 53 w 147"/>
              <a:gd name="T7" fmla="*/ 30 h 138"/>
              <a:gd name="T8" fmla="*/ 57 w 147"/>
              <a:gd name="T9" fmla="*/ 15 h 138"/>
              <a:gd name="T10" fmla="*/ 69 w 147"/>
              <a:gd name="T11" fmla="*/ 6 h 138"/>
              <a:gd name="T12" fmla="*/ 79 w 147"/>
              <a:gd name="T13" fmla="*/ 0 h 138"/>
              <a:gd name="T14" fmla="*/ 88 w 147"/>
              <a:gd name="T15" fmla="*/ 8 h 138"/>
              <a:gd name="T16" fmla="*/ 115 w 147"/>
              <a:gd name="T17" fmla="*/ 28 h 138"/>
              <a:gd name="T18" fmla="*/ 140 w 147"/>
              <a:gd name="T19" fmla="*/ 26 h 138"/>
              <a:gd name="T20" fmla="*/ 142 w 147"/>
              <a:gd name="T21" fmla="*/ 36 h 138"/>
              <a:gd name="T22" fmla="*/ 147 w 147"/>
              <a:gd name="T23" fmla="*/ 52 h 138"/>
              <a:gd name="T24" fmla="*/ 143 w 147"/>
              <a:gd name="T25" fmla="*/ 63 h 138"/>
              <a:gd name="T26" fmla="*/ 133 w 147"/>
              <a:gd name="T27" fmla="*/ 60 h 138"/>
              <a:gd name="T28" fmla="*/ 112 w 147"/>
              <a:gd name="T29" fmla="*/ 56 h 138"/>
              <a:gd name="T30" fmla="*/ 88 w 147"/>
              <a:gd name="T31" fmla="*/ 50 h 138"/>
              <a:gd name="T32" fmla="*/ 75 w 147"/>
              <a:gd name="T33" fmla="*/ 58 h 138"/>
              <a:gd name="T34" fmla="*/ 61 w 147"/>
              <a:gd name="T35" fmla="*/ 50 h 138"/>
              <a:gd name="T36" fmla="*/ 59 w 147"/>
              <a:gd name="T37" fmla="*/ 66 h 138"/>
              <a:gd name="T38" fmla="*/ 73 w 147"/>
              <a:gd name="T39" fmla="*/ 91 h 138"/>
              <a:gd name="T40" fmla="*/ 99 w 147"/>
              <a:gd name="T41" fmla="*/ 115 h 138"/>
              <a:gd name="T42" fmla="*/ 108 w 147"/>
              <a:gd name="T43" fmla="*/ 128 h 138"/>
              <a:gd name="T44" fmla="*/ 101 w 147"/>
              <a:gd name="T45" fmla="*/ 138 h 138"/>
              <a:gd name="T46" fmla="*/ 86 w 147"/>
              <a:gd name="T47" fmla="*/ 134 h 138"/>
              <a:gd name="T48" fmla="*/ 86 w 147"/>
              <a:gd name="T49" fmla="*/ 130 h 138"/>
              <a:gd name="T50" fmla="*/ 93 w 147"/>
              <a:gd name="T51" fmla="*/ 129 h 138"/>
              <a:gd name="T52" fmla="*/ 85 w 147"/>
              <a:gd name="T53" fmla="*/ 120 h 138"/>
              <a:gd name="T54" fmla="*/ 73 w 147"/>
              <a:gd name="T55" fmla="*/ 115 h 138"/>
              <a:gd name="T56" fmla="*/ 61 w 147"/>
              <a:gd name="T57" fmla="*/ 114 h 138"/>
              <a:gd name="T58" fmla="*/ 55 w 147"/>
              <a:gd name="T59" fmla="*/ 106 h 138"/>
              <a:gd name="T60" fmla="*/ 48 w 147"/>
              <a:gd name="T61" fmla="*/ 98 h 138"/>
              <a:gd name="T62" fmla="*/ 38 w 147"/>
              <a:gd name="T63" fmla="*/ 82 h 138"/>
              <a:gd name="T64" fmla="*/ 33 w 147"/>
              <a:gd name="T65" fmla="*/ 63 h 138"/>
              <a:gd name="T66" fmla="*/ 33 w 147"/>
              <a:gd name="T67" fmla="*/ 54 h 138"/>
              <a:gd name="T68" fmla="*/ 22 w 147"/>
              <a:gd name="T69" fmla="*/ 42 h 138"/>
              <a:gd name="T70" fmla="*/ 16 w 147"/>
              <a:gd name="T71" fmla="*/ 55 h 138"/>
              <a:gd name="T72" fmla="*/ 12 w 147"/>
              <a:gd name="T73" fmla="*/ 58 h 138"/>
              <a:gd name="T74" fmla="*/ 11 w 147"/>
              <a:gd name="T75" fmla="*/ 62 h 138"/>
              <a:gd name="T76" fmla="*/ 6 w 147"/>
              <a:gd name="T77" fmla="*/ 61 h 138"/>
              <a:gd name="T78" fmla="*/ 0 w 147"/>
              <a:gd name="T79" fmla="*/ 46 h 138"/>
              <a:gd name="T80" fmla="*/ 0 w 147"/>
              <a:gd name="T81" fmla="*/ 35 h 138"/>
              <a:gd name="T82" fmla="*/ 8 w 147"/>
              <a:gd name="T83" fmla="*/ 32 h 138"/>
              <a:gd name="T84" fmla="*/ 9 w 147"/>
              <a:gd name="T85" fmla="*/ 3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 h="138">
                <a:moveTo>
                  <a:pt x="9" y="30"/>
                </a:moveTo>
                <a:cubicBezTo>
                  <a:pt x="15" y="31"/>
                  <a:pt x="15" y="31"/>
                  <a:pt x="15" y="31"/>
                </a:cubicBezTo>
                <a:cubicBezTo>
                  <a:pt x="20" y="30"/>
                  <a:pt x="37" y="33"/>
                  <a:pt x="41" y="34"/>
                </a:cubicBezTo>
                <a:cubicBezTo>
                  <a:pt x="46" y="34"/>
                  <a:pt x="51" y="35"/>
                  <a:pt x="53" y="30"/>
                </a:cubicBezTo>
                <a:cubicBezTo>
                  <a:pt x="55" y="26"/>
                  <a:pt x="59" y="18"/>
                  <a:pt x="57" y="15"/>
                </a:cubicBezTo>
                <a:cubicBezTo>
                  <a:pt x="54" y="12"/>
                  <a:pt x="69" y="6"/>
                  <a:pt x="69" y="6"/>
                </a:cubicBezTo>
                <a:cubicBezTo>
                  <a:pt x="79" y="0"/>
                  <a:pt x="79" y="0"/>
                  <a:pt x="79" y="0"/>
                </a:cubicBezTo>
                <a:cubicBezTo>
                  <a:pt x="82" y="3"/>
                  <a:pt x="85" y="6"/>
                  <a:pt x="88" y="8"/>
                </a:cubicBezTo>
                <a:cubicBezTo>
                  <a:pt x="93" y="14"/>
                  <a:pt x="110" y="23"/>
                  <a:pt x="115" y="28"/>
                </a:cubicBezTo>
                <a:cubicBezTo>
                  <a:pt x="119" y="31"/>
                  <a:pt x="132" y="28"/>
                  <a:pt x="140" y="26"/>
                </a:cubicBezTo>
                <a:cubicBezTo>
                  <a:pt x="142" y="36"/>
                  <a:pt x="142" y="36"/>
                  <a:pt x="142" y="36"/>
                </a:cubicBezTo>
                <a:cubicBezTo>
                  <a:pt x="147" y="52"/>
                  <a:pt x="147" y="52"/>
                  <a:pt x="147" y="52"/>
                </a:cubicBezTo>
                <a:cubicBezTo>
                  <a:pt x="143" y="63"/>
                  <a:pt x="143" y="63"/>
                  <a:pt x="143" y="63"/>
                </a:cubicBezTo>
                <a:cubicBezTo>
                  <a:pt x="140" y="63"/>
                  <a:pt x="136" y="62"/>
                  <a:pt x="133" y="60"/>
                </a:cubicBezTo>
                <a:cubicBezTo>
                  <a:pt x="128" y="55"/>
                  <a:pt x="119" y="56"/>
                  <a:pt x="112" y="56"/>
                </a:cubicBezTo>
                <a:cubicBezTo>
                  <a:pt x="105" y="56"/>
                  <a:pt x="95" y="50"/>
                  <a:pt x="88" y="50"/>
                </a:cubicBezTo>
                <a:cubicBezTo>
                  <a:pt x="81" y="50"/>
                  <a:pt x="77" y="56"/>
                  <a:pt x="75" y="58"/>
                </a:cubicBezTo>
                <a:cubicBezTo>
                  <a:pt x="74" y="60"/>
                  <a:pt x="68" y="47"/>
                  <a:pt x="61" y="50"/>
                </a:cubicBezTo>
                <a:cubicBezTo>
                  <a:pt x="53" y="52"/>
                  <a:pt x="59" y="59"/>
                  <a:pt x="59" y="66"/>
                </a:cubicBezTo>
                <a:cubicBezTo>
                  <a:pt x="60" y="72"/>
                  <a:pt x="69" y="83"/>
                  <a:pt x="73" y="91"/>
                </a:cubicBezTo>
                <a:cubicBezTo>
                  <a:pt x="78" y="99"/>
                  <a:pt x="93" y="110"/>
                  <a:pt x="99" y="115"/>
                </a:cubicBezTo>
                <a:cubicBezTo>
                  <a:pt x="105" y="120"/>
                  <a:pt x="108" y="125"/>
                  <a:pt x="108" y="128"/>
                </a:cubicBezTo>
                <a:cubicBezTo>
                  <a:pt x="108" y="130"/>
                  <a:pt x="104" y="135"/>
                  <a:pt x="101" y="138"/>
                </a:cubicBezTo>
                <a:cubicBezTo>
                  <a:pt x="95" y="136"/>
                  <a:pt x="89" y="135"/>
                  <a:pt x="86" y="134"/>
                </a:cubicBezTo>
                <a:cubicBezTo>
                  <a:pt x="84" y="132"/>
                  <a:pt x="86" y="130"/>
                  <a:pt x="86" y="130"/>
                </a:cubicBezTo>
                <a:cubicBezTo>
                  <a:pt x="86" y="130"/>
                  <a:pt x="92" y="131"/>
                  <a:pt x="93" y="129"/>
                </a:cubicBezTo>
                <a:cubicBezTo>
                  <a:pt x="94" y="128"/>
                  <a:pt x="87" y="121"/>
                  <a:pt x="85" y="120"/>
                </a:cubicBezTo>
                <a:cubicBezTo>
                  <a:pt x="82" y="118"/>
                  <a:pt x="75" y="115"/>
                  <a:pt x="73" y="115"/>
                </a:cubicBezTo>
                <a:cubicBezTo>
                  <a:pt x="70" y="114"/>
                  <a:pt x="65" y="116"/>
                  <a:pt x="61" y="114"/>
                </a:cubicBezTo>
                <a:cubicBezTo>
                  <a:pt x="57" y="111"/>
                  <a:pt x="60" y="108"/>
                  <a:pt x="55" y="106"/>
                </a:cubicBezTo>
                <a:cubicBezTo>
                  <a:pt x="50" y="103"/>
                  <a:pt x="52" y="102"/>
                  <a:pt x="48" y="98"/>
                </a:cubicBezTo>
                <a:cubicBezTo>
                  <a:pt x="44" y="95"/>
                  <a:pt x="38" y="86"/>
                  <a:pt x="38" y="82"/>
                </a:cubicBezTo>
                <a:cubicBezTo>
                  <a:pt x="37" y="79"/>
                  <a:pt x="32" y="67"/>
                  <a:pt x="33" y="63"/>
                </a:cubicBezTo>
                <a:cubicBezTo>
                  <a:pt x="34" y="59"/>
                  <a:pt x="36" y="58"/>
                  <a:pt x="33" y="54"/>
                </a:cubicBezTo>
                <a:cubicBezTo>
                  <a:pt x="30" y="50"/>
                  <a:pt x="25" y="42"/>
                  <a:pt x="22" y="42"/>
                </a:cubicBezTo>
                <a:cubicBezTo>
                  <a:pt x="20" y="42"/>
                  <a:pt x="18" y="53"/>
                  <a:pt x="16" y="55"/>
                </a:cubicBezTo>
                <a:cubicBezTo>
                  <a:pt x="15" y="57"/>
                  <a:pt x="13" y="56"/>
                  <a:pt x="12" y="58"/>
                </a:cubicBezTo>
                <a:cubicBezTo>
                  <a:pt x="12" y="59"/>
                  <a:pt x="12" y="62"/>
                  <a:pt x="11" y="62"/>
                </a:cubicBezTo>
                <a:cubicBezTo>
                  <a:pt x="9" y="62"/>
                  <a:pt x="8" y="63"/>
                  <a:pt x="6" y="61"/>
                </a:cubicBezTo>
                <a:cubicBezTo>
                  <a:pt x="5" y="58"/>
                  <a:pt x="0" y="49"/>
                  <a:pt x="0" y="46"/>
                </a:cubicBezTo>
                <a:cubicBezTo>
                  <a:pt x="0" y="44"/>
                  <a:pt x="0" y="36"/>
                  <a:pt x="0" y="35"/>
                </a:cubicBezTo>
                <a:cubicBezTo>
                  <a:pt x="2" y="34"/>
                  <a:pt x="8" y="34"/>
                  <a:pt x="8" y="32"/>
                </a:cubicBezTo>
                <a:cubicBezTo>
                  <a:pt x="9" y="31"/>
                  <a:pt x="9" y="30"/>
                  <a:pt x="9" y="30"/>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62" name="Freeform 158"/>
          <p:cNvSpPr>
            <a:spLocks/>
          </p:cNvSpPr>
          <p:nvPr>
            <p:custDataLst>
              <p:tags r:id="rId41"/>
            </p:custDataLst>
          </p:nvPr>
        </p:nvSpPr>
        <p:spPr bwMode="gray">
          <a:xfrm>
            <a:off x="3446226" y="3476722"/>
            <a:ext cx="280216" cy="124094"/>
          </a:xfrm>
          <a:custGeom>
            <a:avLst/>
            <a:gdLst>
              <a:gd name="T0" fmla="*/ 3 w 77"/>
              <a:gd name="T1" fmla="*/ 37 h 47"/>
              <a:gd name="T2" fmla="*/ 0 w 77"/>
              <a:gd name="T3" fmla="*/ 38 h 47"/>
              <a:gd name="T4" fmla="*/ 1 w 77"/>
              <a:gd name="T5" fmla="*/ 28 h 47"/>
              <a:gd name="T6" fmla="*/ 1 w 77"/>
              <a:gd name="T7" fmla="*/ 17 h 47"/>
              <a:gd name="T8" fmla="*/ 3 w 77"/>
              <a:gd name="T9" fmla="*/ 11 h 47"/>
              <a:gd name="T10" fmla="*/ 7 w 77"/>
              <a:gd name="T11" fmla="*/ 10 h 47"/>
              <a:gd name="T12" fmla="*/ 23 w 77"/>
              <a:gd name="T13" fmla="*/ 12 h 47"/>
              <a:gd name="T14" fmla="*/ 35 w 77"/>
              <a:gd name="T15" fmla="*/ 5 h 47"/>
              <a:gd name="T16" fmla="*/ 61 w 77"/>
              <a:gd name="T17" fmla="*/ 2 h 47"/>
              <a:gd name="T18" fmla="*/ 73 w 77"/>
              <a:gd name="T19" fmla="*/ 0 h 47"/>
              <a:gd name="T20" fmla="*/ 77 w 77"/>
              <a:gd name="T21" fmla="*/ 12 h 47"/>
              <a:gd name="T22" fmla="*/ 67 w 77"/>
              <a:gd name="T23" fmla="*/ 18 h 47"/>
              <a:gd name="T24" fmla="*/ 55 w 77"/>
              <a:gd name="T25" fmla="*/ 27 h 47"/>
              <a:gd name="T26" fmla="*/ 51 w 77"/>
              <a:gd name="T27" fmla="*/ 42 h 47"/>
              <a:gd name="T28" fmla="*/ 39 w 77"/>
              <a:gd name="T29" fmla="*/ 46 h 47"/>
              <a:gd name="T30" fmla="*/ 13 w 77"/>
              <a:gd name="T31" fmla="*/ 43 h 47"/>
              <a:gd name="T32" fmla="*/ 7 w 77"/>
              <a:gd name="T33" fmla="*/ 42 h 47"/>
              <a:gd name="T34" fmla="*/ 3 w 77"/>
              <a:gd name="T35" fmla="*/ 3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 h="47">
                <a:moveTo>
                  <a:pt x="3" y="37"/>
                </a:moveTo>
                <a:cubicBezTo>
                  <a:pt x="2" y="37"/>
                  <a:pt x="1" y="37"/>
                  <a:pt x="0" y="38"/>
                </a:cubicBezTo>
                <a:cubicBezTo>
                  <a:pt x="1" y="28"/>
                  <a:pt x="1" y="28"/>
                  <a:pt x="1" y="28"/>
                </a:cubicBezTo>
                <a:cubicBezTo>
                  <a:pt x="1" y="28"/>
                  <a:pt x="2" y="21"/>
                  <a:pt x="1" y="17"/>
                </a:cubicBezTo>
                <a:cubicBezTo>
                  <a:pt x="0" y="14"/>
                  <a:pt x="0" y="12"/>
                  <a:pt x="3" y="11"/>
                </a:cubicBezTo>
                <a:cubicBezTo>
                  <a:pt x="4" y="10"/>
                  <a:pt x="5" y="10"/>
                  <a:pt x="7" y="10"/>
                </a:cubicBezTo>
                <a:cubicBezTo>
                  <a:pt x="12" y="8"/>
                  <a:pt x="18" y="9"/>
                  <a:pt x="23" y="12"/>
                </a:cubicBezTo>
                <a:cubicBezTo>
                  <a:pt x="27" y="14"/>
                  <a:pt x="31" y="8"/>
                  <a:pt x="35" y="5"/>
                </a:cubicBezTo>
                <a:cubicBezTo>
                  <a:pt x="40" y="2"/>
                  <a:pt x="55" y="1"/>
                  <a:pt x="61" y="2"/>
                </a:cubicBezTo>
                <a:cubicBezTo>
                  <a:pt x="73" y="0"/>
                  <a:pt x="73" y="0"/>
                  <a:pt x="73" y="0"/>
                </a:cubicBezTo>
                <a:cubicBezTo>
                  <a:pt x="71" y="4"/>
                  <a:pt x="73" y="8"/>
                  <a:pt x="77" y="12"/>
                </a:cubicBezTo>
                <a:cubicBezTo>
                  <a:pt x="67" y="18"/>
                  <a:pt x="67" y="18"/>
                  <a:pt x="67" y="18"/>
                </a:cubicBezTo>
                <a:cubicBezTo>
                  <a:pt x="67" y="18"/>
                  <a:pt x="52" y="24"/>
                  <a:pt x="55" y="27"/>
                </a:cubicBezTo>
                <a:cubicBezTo>
                  <a:pt x="57" y="30"/>
                  <a:pt x="53" y="38"/>
                  <a:pt x="51" y="42"/>
                </a:cubicBezTo>
                <a:cubicBezTo>
                  <a:pt x="49" y="47"/>
                  <a:pt x="44" y="46"/>
                  <a:pt x="39" y="46"/>
                </a:cubicBezTo>
                <a:cubicBezTo>
                  <a:pt x="35" y="45"/>
                  <a:pt x="18" y="42"/>
                  <a:pt x="13" y="43"/>
                </a:cubicBezTo>
                <a:cubicBezTo>
                  <a:pt x="7" y="42"/>
                  <a:pt x="7" y="42"/>
                  <a:pt x="7" y="42"/>
                </a:cubicBezTo>
                <a:cubicBezTo>
                  <a:pt x="6" y="40"/>
                  <a:pt x="4" y="38"/>
                  <a:pt x="3" y="37"/>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63" name="Freeform 159"/>
          <p:cNvSpPr>
            <a:spLocks/>
          </p:cNvSpPr>
          <p:nvPr>
            <p:custDataLst>
              <p:tags r:id="rId42"/>
            </p:custDataLst>
          </p:nvPr>
        </p:nvSpPr>
        <p:spPr bwMode="gray">
          <a:xfrm>
            <a:off x="3355217" y="2546025"/>
            <a:ext cx="136515" cy="154231"/>
          </a:xfrm>
          <a:custGeom>
            <a:avLst/>
            <a:gdLst>
              <a:gd name="T0" fmla="*/ 36 w 38"/>
              <a:gd name="T1" fmla="*/ 10 h 57"/>
              <a:gd name="T2" fmla="*/ 37 w 38"/>
              <a:gd name="T3" fmla="*/ 17 h 57"/>
              <a:gd name="T4" fmla="*/ 29 w 38"/>
              <a:gd name="T5" fmla="*/ 22 h 57"/>
              <a:gd name="T6" fmla="*/ 34 w 38"/>
              <a:gd name="T7" fmla="*/ 27 h 57"/>
              <a:gd name="T8" fmla="*/ 28 w 38"/>
              <a:gd name="T9" fmla="*/ 33 h 57"/>
              <a:gd name="T10" fmla="*/ 30 w 38"/>
              <a:gd name="T11" fmla="*/ 38 h 57"/>
              <a:gd name="T12" fmla="*/ 36 w 38"/>
              <a:gd name="T13" fmla="*/ 43 h 57"/>
              <a:gd name="T14" fmla="*/ 31 w 38"/>
              <a:gd name="T15" fmla="*/ 45 h 57"/>
              <a:gd name="T16" fmla="*/ 26 w 38"/>
              <a:gd name="T17" fmla="*/ 46 h 57"/>
              <a:gd name="T18" fmla="*/ 22 w 38"/>
              <a:gd name="T19" fmla="*/ 53 h 57"/>
              <a:gd name="T20" fmla="*/ 20 w 38"/>
              <a:gd name="T21" fmla="*/ 56 h 57"/>
              <a:gd name="T22" fmla="*/ 12 w 38"/>
              <a:gd name="T23" fmla="*/ 51 h 57"/>
              <a:gd name="T24" fmla="*/ 2 w 38"/>
              <a:gd name="T25" fmla="*/ 46 h 57"/>
              <a:gd name="T26" fmla="*/ 2 w 38"/>
              <a:gd name="T27" fmla="*/ 42 h 57"/>
              <a:gd name="T28" fmla="*/ 9 w 38"/>
              <a:gd name="T29" fmla="*/ 41 h 57"/>
              <a:gd name="T30" fmla="*/ 15 w 38"/>
              <a:gd name="T31" fmla="*/ 44 h 57"/>
              <a:gd name="T32" fmla="*/ 21 w 38"/>
              <a:gd name="T33" fmla="*/ 39 h 57"/>
              <a:gd name="T34" fmla="*/ 16 w 38"/>
              <a:gd name="T35" fmla="*/ 32 h 57"/>
              <a:gd name="T36" fmla="*/ 8 w 38"/>
              <a:gd name="T37" fmla="*/ 29 h 57"/>
              <a:gd name="T38" fmla="*/ 6 w 38"/>
              <a:gd name="T39" fmla="*/ 13 h 57"/>
              <a:gd name="T40" fmla="*/ 8 w 38"/>
              <a:gd name="T41" fmla="*/ 8 h 57"/>
              <a:gd name="T42" fmla="*/ 18 w 38"/>
              <a:gd name="T43" fmla="*/ 5 h 57"/>
              <a:gd name="T44" fmla="*/ 29 w 38"/>
              <a:gd name="T45" fmla="*/ 0 h 57"/>
              <a:gd name="T46" fmla="*/ 36 w 38"/>
              <a:gd name="T47" fmla="*/ 3 h 57"/>
              <a:gd name="T48" fmla="*/ 36 w 38"/>
              <a:gd name="T49" fmla="*/ 1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57">
                <a:moveTo>
                  <a:pt x="36" y="10"/>
                </a:moveTo>
                <a:cubicBezTo>
                  <a:pt x="36" y="12"/>
                  <a:pt x="38" y="15"/>
                  <a:pt x="37" y="17"/>
                </a:cubicBezTo>
                <a:cubicBezTo>
                  <a:pt x="36" y="18"/>
                  <a:pt x="29" y="19"/>
                  <a:pt x="29" y="22"/>
                </a:cubicBezTo>
                <a:cubicBezTo>
                  <a:pt x="30" y="25"/>
                  <a:pt x="34" y="25"/>
                  <a:pt x="34" y="27"/>
                </a:cubicBezTo>
                <a:cubicBezTo>
                  <a:pt x="34" y="33"/>
                  <a:pt x="28" y="31"/>
                  <a:pt x="28" y="33"/>
                </a:cubicBezTo>
                <a:cubicBezTo>
                  <a:pt x="28" y="35"/>
                  <a:pt x="28" y="38"/>
                  <a:pt x="30" y="38"/>
                </a:cubicBezTo>
                <a:cubicBezTo>
                  <a:pt x="33" y="39"/>
                  <a:pt x="36" y="41"/>
                  <a:pt x="36" y="43"/>
                </a:cubicBezTo>
                <a:cubicBezTo>
                  <a:pt x="36" y="45"/>
                  <a:pt x="33" y="46"/>
                  <a:pt x="31" y="45"/>
                </a:cubicBezTo>
                <a:cubicBezTo>
                  <a:pt x="29" y="44"/>
                  <a:pt x="28" y="44"/>
                  <a:pt x="26" y="46"/>
                </a:cubicBezTo>
                <a:cubicBezTo>
                  <a:pt x="25" y="47"/>
                  <a:pt x="22" y="52"/>
                  <a:pt x="22" y="53"/>
                </a:cubicBezTo>
                <a:cubicBezTo>
                  <a:pt x="22" y="54"/>
                  <a:pt x="22" y="57"/>
                  <a:pt x="20" y="56"/>
                </a:cubicBezTo>
                <a:cubicBezTo>
                  <a:pt x="18" y="55"/>
                  <a:pt x="15" y="52"/>
                  <a:pt x="12" y="51"/>
                </a:cubicBezTo>
                <a:cubicBezTo>
                  <a:pt x="9" y="50"/>
                  <a:pt x="3" y="48"/>
                  <a:pt x="2" y="46"/>
                </a:cubicBezTo>
                <a:cubicBezTo>
                  <a:pt x="0" y="44"/>
                  <a:pt x="2" y="42"/>
                  <a:pt x="2" y="42"/>
                </a:cubicBezTo>
                <a:cubicBezTo>
                  <a:pt x="4" y="40"/>
                  <a:pt x="8" y="39"/>
                  <a:pt x="9" y="41"/>
                </a:cubicBezTo>
                <a:cubicBezTo>
                  <a:pt x="10" y="42"/>
                  <a:pt x="13" y="44"/>
                  <a:pt x="15" y="44"/>
                </a:cubicBezTo>
                <a:cubicBezTo>
                  <a:pt x="18" y="43"/>
                  <a:pt x="22" y="42"/>
                  <a:pt x="21" y="39"/>
                </a:cubicBezTo>
                <a:cubicBezTo>
                  <a:pt x="20" y="36"/>
                  <a:pt x="18" y="33"/>
                  <a:pt x="16" y="32"/>
                </a:cubicBezTo>
                <a:cubicBezTo>
                  <a:pt x="14" y="31"/>
                  <a:pt x="8" y="32"/>
                  <a:pt x="8" y="29"/>
                </a:cubicBezTo>
                <a:cubicBezTo>
                  <a:pt x="8" y="26"/>
                  <a:pt x="8" y="15"/>
                  <a:pt x="6" y="13"/>
                </a:cubicBezTo>
                <a:cubicBezTo>
                  <a:pt x="5" y="11"/>
                  <a:pt x="3" y="9"/>
                  <a:pt x="8" y="8"/>
                </a:cubicBezTo>
                <a:cubicBezTo>
                  <a:pt x="13" y="7"/>
                  <a:pt x="14" y="7"/>
                  <a:pt x="18" y="5"/>
                </a:cubicBezTo>
                <a:cubicBezTo>
                  <a:pt x="22" y="4"/>
                  <a:pt x="27" y="1"/>
                  <a:pt x="29" y="0"/>
                </a:cubicBezTo>
                <a:cubicBezTo>
                  <a:pt x="31" y="0"/>
                  <a:pt x="36" y="1"/>
                  <a:pt x="36" y="3"/>
                </a:cubicBezTo>
                <a:cubicBezTo>
                  <a:pt x="36" y="5"/>
                  <a:pt x="35" y="7"/>
                  <a:pt x="36" y="1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64" name="Freeform 160"/>
          <p:cNvSpPr>
            <a:spLocks/>
          </p:cNvSpPr>
          <p:nvPr>
            <p:custDataLst>
              <p:tags r:id="rId43"/>
            </p:custDataLst>
          </p:nvPr>
        </p:nvSpPr>
        <p:spPr bwMode="gray">
          <a:xfrm>
            <a:off x="3149246" y="2370521"/>
            <a:ext cx="241896" cy="274778"/>
          </a:xfrm>
          <a:custGeom>
            <a:avLst/>
            <a:gdLst>
              <a:gd name="T0" fmla="*/ 67 w 67"/>
              <a:gd name="T1" fmla="*/ 2 h 103"/>
              <a:gd name="T2" fmla="*/ 61 w 67"/>
              <a:gd name="T3" fmla="*/ 8 h 103"/>
              <a:gd name="T4" fmla="*/ 61 w 67"/>
              <a:gd name="T5" fmla="*/ 20 h 103"/>
              <a:gd name="T6" fmla="*/ 55 w 67"/>
              <a:gd name="T7" fmla="*/ 28 h 103"/>
              <a:gd name="T8" fmla="*/ 54 w 67"/>
              <a:gd name="T9" fmla="*/ 43 h 103"/>
              <a:gd name="T10" fmla="*/ 58 w 67"/>
              <a:gd name="T11" fmla="*/ 46 h 103"/>
              <a:gd name="T12" fmla="*/ 64 w 67"/>
              <a:gd name="T13" fmla="*/ 47 h 103"/>
              <a:gd name="T14" fmla="*/ 64 w 67"/>
              <a:gd name="T15" fmla="*/ 54 h 103"/>
              <a:gd name="T16" fmla="*/ 58 w 67"/>
              <a:gd name="T17" fmla="*/ 61 h 103"/>
              <a:gd name="T18" fmla="*/ 53 w 67"/>
              <a:gd name="T19" fmla="*/ 57 h 103"/>
              <a:gd name="T20" fmla="*/ 49 w 67"/>
              <a:gd name="T21" fmla="*/ 62 h 103"/>
              <a:gd name="T22" fmla="*/ 47 w 67"/>
              <a:gd name="T23" fmla="*/ 70 h 103"/>
              <a:gd name="T24" fmla="*/ 41 w 67"/>
              <a:gd name="T25" fmla="*/ 74 h 103"/>
              <a:gd name="T26" fmla="*/ 35 w 67"/>
              <a:gd name="T27" fmla="*/ 74 h 103"/>
              <a:gd name="T28" fmla="*/ 37 w 67"/>
              <a:gd name="T29" fmla="*/ 81 h 103"/>
              <a:gd name="T30" fmla="*/ 42 w 67"/>
              <a:gd name="T31" fmla="*/ 81 h 103"/>
              <a:gd name="T32" fmla="*/ 49 w 67"/>
              <a:gd name="T33" fmla="*/ 79 h 103"/>
              <a:gd name="T34" fmla="*/ 57 w 67"/>
              <a:gd name="T35" fmla="*/ 89 h 103"/>
              <a:gd name="T36" fmla="*/ 53 w 67"/>
              <a:gd name="T37" fmla="*/ 99 h 103"/>
              <a:gd name="T38" fmla="*/ 45 w 67"/>
              <a:gd name="T39" fmla="*/ 99 h 103"/>
              <a:gd name="T40" fmla="*/ 38 w 67"/>
              <a:gd name="T41" fmla="*/ 91 h 103"/>
              <a:gd name="T42" fmla="*/ 37 w 67"/>
              <a:gd name="T43" fmla="*/ 86 h 103"/>
              <a:gd name="T44" fmla="*/ 32 w 67"/>
              <a:gd name="T45" fmla="*/ 86 h 103"/>
              <a:gd name="T46" fmla="*/ 29 w 67"/>
              <a:gd name="T47" fmla="*/ 95 h 103"/>
              <a:gd name="T48" fmla="*/ 37 w 67"/>
              <a:gd name="T49" fmla="*/ 101 h 103"/>
              <a:gd name="T50" fmla="*/ 29 w 67"/>
              <a:gd name="T51" fmla="*/ 103 h 103"/>
              <a:gd name="T52" fmla="*/ 17 w 67"/>
              <a:gd name="T53" fmla="*/ 101 h 103"/>
              <a:gd name="T54" fmla="*/ 8 w 67"/>
              <a:gd name="T55" fmla="*/ 98 h 103"/>
              <a:gd name="T56" fmla="*/ 8 w 67"/>
              <a:gd name="T57" fmla="*/ 98 h 103"/>
              <a:gd name="T58" fmla="*/ 11 w 67"/>
              <a:gd name="T59" fmla="*/ 81 h 103"/>
              <a:gd name="T60" fmla="*/ 1 w 67"/>
              <a:gd name="T61" fmla="*/ 75 h 103"/>
              <a:gd name="T62" fmla="*/ 0 w 67"/>
              <a:gd name="T63" fmla="*/ 71 h 103"/>
              <a:gd name="T64" fmla="*/ 4 w 67"/>
              <a:gd name="T65" fmla="*/ 64 h 103"/>
              <a:gd name="T66" fmla="*/ 7 w 67"/>
              <a:gd name="T67" fmla="*/ 38 h 103"/>
              <a:gd name="T68" fmla="*/ 14 w 67"/>
              <a:gd name="T69" fmla="*/ 25 h 103"/>
              <a:gd name="T70" fmla="*/ 20 w 67"/>
              <a:gd name="T71" fmla="*/ 17 h 103"/>
              <a:gd name="T72" fmla="*/ 26 w 67"/>
              <a:gd name="T73" fmla="*/ 19 h 103"/>
              <a:gd name="T74" fmla="*/ 35 w 67"/>
              <a:gd name="T75" fmla="*/ 19 h 103"/>
              <a:gd name="T76" fmla="*/ 47 w 67"/>
              <a:gd name="T77" fmla="*/ 5 h 103"/>
              <a:gd name="T78" fmla="*/ 54 w 67"/>
              <a:gd name="T79" fmla="*/ 5 h 103"/>
              <a:gd name="T80" fmla="*/ 62 w 67"/>
              <a:gd name="T81" fmla="*/ 0 h 103"/>
              <a:gd name="T82" fmla="*/ 67 w 67"/>
              <a:gd name="T83" fmla="*/ 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103">
                <a:moveTo>
                  <a:pt x="67" y="2"/>
                </a:moveTo>
                <a:cubicBezTo>
                  <a:pt x="67" y="4"/>
                  <a:pt x="61" y="6"/>
                  <a:pt x="61" y="8"/>
                </a:cubicBezTo>
                <a:cubicBezTo>
                  <a:pt x="61" y="10"/>
                  <a:pt x="62" y="18"/>
                  <a:pt x="61" y="20"/>
                </a:cubicBezTo>
                <a:cubicBezTo>
                  <a:pt x="60" y="22"/>
                  <a:pt x="57" y="25"/>
                  <a:pt x="55" y="28"/>
                </a:cubicBezTo>
                <a:cubicBezTo>
                  <a:pt x="53" y="32"/>
                  <a:pt x="53" y="41"/>
                  <a:pt x="54" y="43"/>
                </a:cubicBezTo>
                <a:cubicBezTo>
                  <a:pt x="55" y="45"/>
                  <a:pt x="55" y="46"/>
                  <a:pt x="58" y="46"/>
                </a:cubicBezTo>
                <a:cubicBezTo>
                  <a:pt x="60" y="46"/>
                  <a:pt x="62" y="46"/>
                  <a:pt x="64" y="47"/>
                </a:cubicBezTo>
                <a:cubicBezTo>
                  <a:pt x="65" y="48"/>
                  <a:pt x="65" y="53"/>
                  <a:pt x="64" y="54"/>
                </a:cubicBezTo>
                <a:cubicBezTo>
                  <a:pt x="63" y="56"/>
                  <a:pt x="58" y="61"/>
                  <a:pt x="58" y="61"/>
                </a:cubicBezTo>
                <a:cubicBezTo>
                  <a:pt x="57" y="61"/>
                  <a:pt x="54" y="58"/>
                  <a:pt x="53" y="57"/>
                </a:cubicBezTo>
                <a:cubicBezTo>
                  <a:pt x="51" y="55"/>
                  <a:pt x="49" y="58"/>
                  <a:pt x="49" y="62"/>
                </a:cubicBezTo>
                <a:cubicBezTo>
                  <a:pt x="49" y="66"/>
                  <a:pt x="48" y="68"/>
                  <a:pt x="47" y="70"/>
                </a:cubicBezTo>
                <a:cubicBezTo>
                  <a:pt x="46" y="71"/>
                  <a:pt x="43" y="74"/>
                  <a:pt x="41" y="74"/>
                </a:cubicBezTo>
                <a:cubicBezTo>
                  <a:pt x="38" y="73"/>
                  <a:pt x="36" y="72"/>
                  <a:pt x="35" y="74"/>
                </a:cubicBezTo>
                <a:cubicBezTo>
                  <a:pt x="35" y="76"/>
                  <a:pt x="36" y="80"/>
                  <a:pt x="37" y="81"/>
                </a:cubicBezTo>
                <a:cubicBezTo>
                  <a:pt x="38" y="82"/>
                  <a:pt x="40" y="82"/>
                  <a:pt x="42" y="81"/>
                </a:cubicBezTo>
                <a:cubicBezTo>
                  <a:pt x="44" y="80"/>
                  <a:pt x="48" y="77"/>
                  <a:pt x="49" y="79"/>
                </a:cubicBezTo>
                <a:cubicBezTo>
                  <a:pt x="51" y="80"/>
                  <a:pt x="57" y="86"/>
                  <a:pt x="57" y="89"/>
                </a:cubicBezTo>
                <a:cubicBezTo>
                  <a:pt x="57" y="92"/>
                  <a:pt x="55" y="99"/>
                  <a:pt x="53" y="99"/>
                </a:cubicBezTo>
                <a:cubicBezTo>
                  <a:pt x="51" y="99"/>
                  <a:pt x="47" y="101"/>
                  <a:pt x="45" y="99"/>
                </a:cubicBezTo>
                <a:cubicBezTo>
                  <a:pt x="43" y="97"/>
                  <a:pt x="39" y="93"/>
                  <a:pt x="38" y="91"/>
                </a:cubicBezTo>
                <a:cubicBezTo>
                  <a:pt x="37" y="89"/>
                  <a:pt x="38" y="87"/>
                  <a:pt x="37" y="86"/>
                </a:cubicBezTo>
                <a:cubicBezTo>
                  <a:pt x="35" y="85"/>
                  <a:pt x="32" y="85"/>
                  <a:pt x="32" y="86"/>
                </a:cubicBezTo>
                <a:cubicBezTo>
                  <a:pt x="31" y="87"/>
                  <a:pt x="30" y="93"/>
                  <a:pt x="29" y="95"/>
                </a:cubicBezTo>
                <a:cubicBezTo>
                  <a:pt x="29" y="96"/>
                  <a:pt x="35" y="99"/>
                  <a:pt x="37" y="101"/>
                </a:cubicBezTo>
                <a:cubicBezTo>
                  <a:pt x="29" y="103"/>
                  <a:pt x="29" y="103"/>
                  <a:pt x="29" y="103"/>
                </a:cubicBezTo>
                <a:cubicBezTo>
                  <a:pt x="26" y="103"/>
                  <a:pt x="22" y="103"/>
                  <a:pt x="17" y="101"/>
                </a:cubicBezTo>
                <a:cubicBezTo>
                  <a:pt x="15" y="100"/>
                  <a:pt x="11" y="99"/>
                  <a:pt x="8" y="98"/>
                </a:cubicBezTo>
                <a:cubicBezTo>
                  <a:pt x="8" y="98"/>
                  <a:pt x="8" y="98"/>
                  <a:pt x="8" y="98"/>
                </a:cubicBezTo>
                <a:cubicBezTo>
                  <a:pt x="9" y="95"/>
                  <a:pt x="13" y="83"/>
                  <a:pt x="11" y="81"/>
                </a:cubicBezTo>
                <a:cubicBezTo>
                  <a:pt x="8" y="79"/>
                  <a:pt x="2" y="78"/>
                  <a:pt x="1" y="75"/>
                </a:cubicBezTo>
                <a:cubicBezTo>
                  <a:pt x="0" y="73"/>
                  <a:pt x="0" y="71"/>
                  <a:pt x="0" y="71"/>
                </a:cubicBezTo>
                <a:cubicBezTo>
                  <a:pt x="1" y="71"/>
                  <a:pt x="4" y="68"/>
                  <a:pt x="4" y="64"/>
                </a:cubicBezTo>
                <a:cubicBezTo>
                  <a:pt x="4" y="60"/>
                  <a:pt x="6" y="42"/>
                  <a:pt x="7" y="38"/>
                </a:cubicBezTo>
                <a:cubicBezTo>
                  <a:pt x="8" y="35"/>
                  <a:pt x="13" y="27"/>
                  <a:pt x="14" y="25"/>
                </a:cubicBezTo>
                <a:cubicBezTo>
                  <a:pt x="15" y="23"/>
                  <a:pt x="18" y="18"/>
                  <a:pt x="20" y="17"/>
                </a:cubicBezTo>
                <a:cubicBezTo>
                  <a:pt x="22" y="17"/>
                  <a:pt x="25" y="20"/>
                  <a:pt x="26" y="19"/>
                </a:cubicBezTo>
                <a:cubicBezTo>
                  <a:pt x="28" y="19"/>
                  <a:pt x="33" y="19"/>
                  <a:pt x="35" y="19"/>
                </a:cubicBezTo>
                <a:cubicBezTo>
                  <a:pt x="40" y="17"/>
                  <a:pt x="46" y="7"/>
                  <a:pt x="47" y="5"/>
                </a:cubicBezTo>
                <a:cubicBezTo>
                  <a:pt x="49" y="4"/>
                  <a:pt x="53" y="5"/>
                  <a:pt x="54" y="5"/>
                </a:cubicBezTo>
                <a:cubicBezTo>
                  <a:pt x="56" y="5"/>
                  <a:pt x="60" y="0"/>
                  <a:pt x="62" y="0"/>
                </a:cubicBezTo>
                <a:cubicBezTo>
                  <a:pt x="64" y="0"/>
                  <a:pt x="67" y="0"/>
                  <a:pt x="67" y="2"/>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65" name="Freeform 161"/>
          <p:cNvSpPr>
            <a:spLocks/>
          </p:cNvSpPr>
          <p:nvPr>
            <p:custDataLst>
              <p:tags r:id="rId44"/>
            </p:custDataLst>
          </p:nvPr>
        </p:nvSpPr>
        <p:spPr bwMode="gray">
          <a:xfrm>
            <a:off x="2756466" y="3336675"/>
            <a:ext cx="426310" cy="195004"/>
          </a:xfrm>
          <a:custGeom>
            <a:avLst/>
            <a:gdLst>
              <a:gd name="T0" fmla="*/ 117 w 118"/>
              <a:gd name="T1" fmla="*/ 36 h 73"/>
              <a:gd name="T2" fmla="*/ 118 w 118"/>
              <a:gd name="T3" fmla="*/ 40 h 73"/>
              <a:gd name="T4" fmla="*/ 109 w 118"/>
              <a:gd name="T5" fmla="*/ 53 h 73"/>
              <a:gd name="T6" fmla="*/ 99 w 118"/>
              <a:gd name="T7" fmla="*/ 57 h 73"/>
              <a:gd name="T8" fmla="*/ 87 w 118"/>
              <a:gd name="T9" fmla="*/ 49 h 73"/>
              <a:gd name="T10" fmla="*/ 80 w 118"/>
              <a:gd name="T11" fmla="*/ 70 h 73"/>
              <a:gd name="T12" fmla="*/ 73 w 118"/>
              <a:gd name="T13" fmla="*/ 73 h 73"/>
              <a:gd name="T14" fmla="*/ 69 w 118"/>
              <a:gd name="T15" fmla="*/ 59 h 73"/>
              <a:gd name="T16" fmla="*/ 67 w 118"/>
              <a:gd name="T17" fmla="*/ 48 h 73"/>
              <a:gd name="T18" fmla="*/ 60 w 118"/>
              <a:gd name="T19" fmla="*/ 46 h 73"/>
              <a:gd name="T20" fmla="*/ 47 w 118"/>
              <a:gd name="T21" fmla="*/ 61 h 73"/>
              <a:gd name="T22" fmla="*/ 37 w 118"/>
              <a:gd name="T23" fmla="*/ 62 h 73"/>
              <a:gd name="T24" fmla="*/ 28 w 118"/>
              <a:gd name="T25" fmla="*/ 60 h 73"/>
              <a:gd name="T26" fmla="*/ 28 w 118"/>
              <a:gd name="T27" fmla="*/ 60 h 73"/>
              <a:gd name="T28" fmla="*/ 27 w 118"/>
              <a:gd name="T29" fmla="*/ 58 h 73"/>
              <a:gd name="T30" fmla="*/ 20 w 118"/>
              <a:gd name="T31" fmla="*/ 42 h 73"/>
              <a:gd name="T32" fmla="*/ 4 w 118"/>
              <a:gd name="T33" fmla="*/ 44 h 73"/>
              <a:gd name="T34" fmla="*/ 6 w 118"/>
              <a:gd name="T35" fmla="*/ 32 h 73"/>
              <a:gd name="T36" fmla="*/ 4 w 118"/>
              <a:gd name="T37" fmla="*/ 32 h 73"/>
              <a:gd name="T38" fmla="*/ 6 w 118"/>
              <a:gd name="T39" fmla="*/ 30 h 73"/>
              <a:gd name="T40" fmla="*/ 30 w 118"/>
              <a:gd name="T41" fmla="*/ 5 h 73"/>
              <a:gd name="T42" fmla="*/ 46 w 118"/>
              <a:gd name="T43" fmla="*/ 0 h 73"/>
              <a:gd name="T44" fmla="*/ 55 w 118"/>
              <a:gd name="T45" fmla="*/ 2 h 73"/>
              <a:gd name="T46" fmla="*/ 79 w 118"/>
              <a:gd name="T47" fmla="*/ 3 h 73"/>
              <a:gd name="T48" fmla="*/ 97 w 118"/>
              <a:gd name="T49" fmla="*/ 13 h 73"/>
              <a:gd name="T50" fmla="*/ 98 w 118"/>
              <a:gd name="T51" fmla="*/ 16 h 73"/>
              <a:gd name="T52" fmla="*/ 95 w 118"/>
              <a:gd name="T53" fmla="*/ 26 h 73"/>
              <a:gd name="T54" fmla="*/ 103 w 118"/>
              <a:gd name="T55" fmla="*/ 36 h 73"/>
              <a:gd name="T56" fmla="*/ 117 w 118"/>
              <a:gd name="T57" fmla="*/ 3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73">
                <a:moveTo>
                  <a:pt x="117" y="36"/>
                </a:moveTo>
                <a:cubicBezTo>
                  <a:pt x="118" y="37"/>
                  <a:pt x="118" y="38"/>
                  <a:pt x="118" y="40"/>
                </a:cubicBezTo>
                <a:cubicBezTo>
                  <a:pt x="117" y="45"/>
                  <a:pt x="113" y="51"/>
                  <a:pt x="109" y="53"/>
                </a:cubicBezTo>
                <a:cubicBezTo>
                  <a:pt x="105" y="55"/>
                  <a:pt x="101" y="55"/>
                  <a:pt x="99" y="57"/>
                </a:cubicBezTo>
                <a:cubicBezTo>
                  <a:pt x="97" y="58"/>
                  <a:pt x="90" y="50"/>
                  <a:pt x="87" y="49"/>
                </a:cubicBezTo>
                <a:cubicBezTo>
                  <a:pt x="85" y="48"/>
                  <a:pt x="80" y="70"/>
                  <a:pt x="80" y="70"/>
                </a:cubicBezTo>
                <a:cubicBezTo>
                  <a:pt x="80" y="70"/>
                  <a:pt x="75" y="73"/>
                  <a:pt x="73" y="73"/>
                </a:cubicBezTo>
                <a:cubicBezTo>
                  <a:pt x="71" y="73"/>
                  <a:pt x="69" y="62"/>
                  <a:pt x="69" y="59"/>
                </a:cubicBezTo>
                <a:cubicBezTo>
                  <a:pt x="67" y="55"/>
                  <a:pt x="69" y="49"/>
                  <a:pt x="67" y="48"/>
                </a:cubicBezTo>
                <a:cubicBezTo>
                  <a:pt x="64" y="47"/>
                  <a:pt x="63" y="46"/>
                  <a:pt x="60" y="46"/>
                </a:cubicBezTo>
                <a:cubicBezTo>
                  <a:pt x="57" y="46"/>
                  <a:pt x="49" y="59"/>
                  <a:pt x="47" y="61"/>
                </a:cubicBezTo>
                <a:cubicBezTo>
                  <a:pt x="45" y="63"/>
                  <a:pt x="41" y="62"/>
                  <a:pt x="37" y="62"/>
                </a:cubicBezTo>
                <a:cubicBezTo>
                  <a:pt x="28" y="60"/>
                  <a:pt x="28" y="60"/>
                  <a:pt x="28" y="60"/>
                </a:cubicBezTo>
                <a:cubicBezTo>
                  <a:pt x="28" y="60"/>
                  <a:pt x="28" y="60"/>
                  <a:pt x="28" y="60"/>
                </a:cubicBezTo>
                <a:cubicBezTo>
                  <a:pt x="28" y="59"/>
                  <a:pt x="27" y="59"/>
                  <a:pt x="27" y="58"/>
                </a:cubicBezTo>
                <a:cubicBezTo>
                  <a:pt x="24" y="52"/>
                  <a:pt x="23" y="43"/>
                  <a:pt x="20" y="42"/>
                </a:cubicBezTo>
                <a:cubicBezTo>
                  <a:pt x="18" y="40"/>
                  <a:pt x="8" y="49"/>
                  <a:pt x="4" y="44"/>
                </a:cubicBezTo>
                <a:cubicBezTo>
                  <a:pt x="0" y="40"/>
                  <a:pt x="2" y="36"/>
                  <a:pt x="6" y="32"/>
                </a:cubicBezTo>
                <a:cubicBezTo>
                  <a:pt x="9" y="28"/>
                  <a:pt x="5" y="32"/>
                  <a:pt x="4" y="32"/>
                </a:cubicBezTo>
                <a:cubicBezTo>
                  <a:pt x="5" y="32"/>
                  <a:pt x="5" y="31"/>
                  <a:pt x="6" y="30"/>
                </a:cubicBezTo>
                <a:cubicBezTo>
                  <a:pt x="12" y="24"/>
                  <a:pt x="25" y="7"/>
                  <a:pt x="30" y="5"/>
                </a:cubicBezTo>
                <a:cubicBezTo>
                  <a:pt x="36" y="3"/>
                  <a:pt x="44" y="5"/>
                  <a:pt x="46" y="0"/>
                </a:cubicBezTo>
                <a:cubicBezTo>
                  <a:pt x="55" y="2"/>
                  <a:pt x="55" y="2"/>
                  <a:pt x="55" y="2"/>
                </a:cubicBezTo>
                <a:cubicBezTo>
                  <a:pt x="55" y="2"/>
                  <a:pt x="75" y="3"/>
                  <a:pt x="79" y="3"/>
                </a:cubicBezTo>
                <a:cubicBezTo>
                  <a:pt x="84" y="3"/>
                  <a:pt x="93" y="9"/>
                  <a:pt x="97" y="13"/>
                </a:cubicBezTo>
                <a:cubicBezTo>
                  <a:pt x="98" y="14"/>
                  <a:pt x="98" y="15"/>
                  <a:pt x="98" y="16"/>
                </a:cubicBezTo>
                <a:cubicBezTo>
                  <a:pt x="99" y="18"/>
                  <a:pt x="96" y="21"/>
                  <a:pt x="95" y="26"/>
                </a:cubicBezTo>
                <a:cubicBezTo>
                  <a:pt x="95" y="32"/>
                  <a:pt x="99" y="33"/>
                  <a:pt x="103" y="36"/>
                </a:cubicBezTo>
                <a:cubicBezTo>
                  <a:pt x="108" y="38"/>
                  <a:pt x="115" y="34"/>
                  <a:pt x="117" y="36"/>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66" name="Freeform 162"/>
          <p:cNvSpPr>
            <a:spLocks/>
          </p:cNvSpPr>
          <p:nvPr>
            <p:custDataLst>
              <p:tags r:id="rId45"/>
            </p:custDataLst>
          </p:nvPr>
        </p:nvSpPr>
        <p:spPr bwMode="gray">
          <a:xfrm>
            <a:off x="2698987" y="2753437"/>
            <a:ext cx="330509" cy="257050"/>
          </a:xfrm>
          <a:custGeom>
            <a:avLst/>
            <a:gdLst>
              <a:gd name="T0" fmla="*/ 91 w 91"/>
              <a:gd name="T1" fmla="*/ 12 h 96"/>
              <a:gd name="T2" fmla="*/ 91 w 91"/>
              <a:gd name="T3" fmla="*/ 13 h 96"/>
              <a:gd name="T4" fmla="*/ 86 w 91"/>
              <a:gd name="T5" fmla="*/ 29 h 96"/>
              <a:gd name="T6" fmla="*/ 77 w 91"/>
              <a:gd name="T7" fmla="*/ 30 h 96"/>
              <a:gd name="T8" fmla="*/ 74 w 91"/>
              <a:gd name="T9" fmla="*/ 39 h 96"/>
              <a:gd name="T10" fmla="*/ 82 w 91"/>
              <a:gd name="T11" fmla="*/ 46 h 96"/>
              <a:gd name="T12" fmla="*/ 70 w 91"/>
              <a:gd name="T13" fmla="*/ 58 h 96"/>
              <a:gd name="T14" fmla="*/ 56 w 91"/>
              <a:gd name="T15" fmla="*/ 58 h 96"/>
              <a:gd name="T16" fmla="*/ 52 w 91"/>
              <a:gd name="T17" fmla="*/ 65 h 96"/>
              <a:gd name="T18" fmla="*/ 56 w 91"/>
              <a:gd name="T19" fmla="*/ 79 h 96"/>
              <a:gd name="T20" fmla="*/ 51 w 91"/>
              <a:gd name="T21" fmla="*/ 96 h 96"/>
              <a:gd name="T22" fmla="*/ 41 w 91"/>
              <a:gd name="T23" fmla="*/ 96 h 96"/>
              <a:gd name="T24" fmla="*/ 37 w 91"/>
              <a:gd name="T25" fmla="*/ 90 h 96"/>
              <a:gd name="T26" fmla="*/ 40 w 91"/>
              <a:gd name="T27" fmla="*/ 78 h 96"/>
              <a:gd name="T28" fmla="*/ 34 w 91"/>
              <a:gd name="T29" fmla="*/ 73 h 96"/>
              <a:gd name="T30" fmla="*/ 23 w 91"/>
              <a:gd name="T31" fmla="*/ 67 h 96"/>
              <a:gd name="T32" fmla="*/ 6 w 91"/>
              <a:gd name="T33" fmla="*/ 64 h 96"/>
              <a:gd name="T34" fmla="*/ 0 w 91"/>
              <a:gd name="T35" fmla="*/ 55 h 96"/>
              <a:gd name="T36" fmla="*/ 13 w 91"/>
              <a:gd name="T37" fmla="*/ 46 h 96"/>
              <a:gd name="T38" fmla="*/ 29 w 91"/>
              <a:gd name="T39" fmla="*/ 29 h 96"/>
              <a:gd name="T40" fmla="*/ 35 w 91"/>
              <a:gd name="T41" fmla="*/ 12 h 96"/>
              <a:gd name="T42" fmla="*/ 38 w 91"/>
              <a:gd name="T43" fmla="*/ 5 h 96"/>
              <a:gd name="T44" fmla="*/ 42 w 91"/>
              <a:gd name="T45" fmla="*/ 6 h 96"/>
              <a:gd name="T46" fmla="*/ 41 w 91"/>
              <a:gd name="T47" fmla="*/ 14 h 96"/>
              <a:gd name="T48" fmla="*/ 45 w 91"/>
              <a:gd name="T49" fmla="*/ 19 h 96"/>
              <a:gd name="T50" fmla="*/ 45 w 91"/>
              <a:gd name="T51" fmla="*/ 26 h 96"/>
              <a:gd name="T52" fmla="*/ 40 w 91"/>
              <a:gd name="T53" fmla="*/ 27 h 96"/>
              <a:gd name="T54" fmla="*/ 38 w 91"/>
              <a:gd name="T55" fmla="*/ 35 h 96"/>
              <a:gd name="T56" fmla="*/ 41 w 91"/>
              <a:gd name="T57" fmla="*/ 36 h 96"/>
              <a:gd name="T58" fmla="*/ 53 w 91"/>
              <a:gd name="T59" fmla="*/ 29 h 96"/>
              <a:gd name="T60" fmla="*/ 56 w 91"/>
              <a:gd name="T61" fmla="*/ 20 h 96"/>
              <a:gd name="T62" fmla="*/ 50 w 91"/>
              <a:gd name="T63" fmla="*/ 18 h 96"/>
              <a:gd name="T64" fmla="*/ 54 w 91"/>
              <a:gd name="T65" fmla="*/ 6 h 96"/>
              <a:gd name="T66" fmla="*/ 65 w 91"/>
              <a:gd name="T67" fmla="*/ 2 h 96"/>
              <a:gd name="T68" fmla="*/ 75 w 91"/>
              <a:gd name="T69" fmla="*/ 3 h 96"/>
              <a:gd name="T70" fmla="*/ 83 w 91"/>
              <a:gd name="T71" fmla="*/ 2 h 96"/>
              <a:gd name="T72" fmla="*/ 91 w 91"/>
              <a:gd name="T73"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1" h="96">
                <a:moveTo>
                  <a:pt x="91" y="12"/>
                </a:moveTo>
                <a:cubicBezTo>
                  <a:pt x="91" y="13"/>
                  <a:pt x="91" y="13"/>
                  <a:pt x="91" y="13"/>
                </a:cubicBezTo>
                <a:cubicBezTo>
                  <a:pt x="91" y="17"/>
                  <a:pt x="87" y="28"/>
                  <a:pt x="86" y="29"/>
                </a:cubicBezTo>
                <a:cubicBezTo>
                  <a:pt x="85" y="31"/>
                  <a:pt x="77" y="30"/>
                  <a:pt x="77" y="30"/>
                </a:cubicBezTo>
                <a:cubicBezTo>
                  <a:pt x="74" y="39"/>
                  <a:pt x="74" y="39"/>
                  <a:pt x="74" y="39"/>
                </a:cubicBezTo>
                <a:cubicBezTo>
                  <a:pt x="74" y="39"/>
                  <a:pt x="85" y="42"/>
                  <a:pt x="82" y="46"/>
                </a:cubicBezTo>
                <a:cubicBezTo>
                  <a:pt x="78" y="50"/>
                  <a:pt x="73" y="59"/>
                  <a:pt x="70" y="58"/>
                </a:cubicBezTo>
                <a:cubicBezTo>
                  <a:pt x="67" y="58"/>
                  <a:pt x="59" y="57"/>
                  <a:pt x="56" y="58"/>
                </a:cubicBezTo>
                <a:cubicBezTo>
                  <a:pt x="54" y="59"/>
                  <a:pt x="51" y="63"/>
                  <a:pt x="52" y="65"/>
                </a:cubicBezTo>
                <a:cubicBezTo>
                  <a:pt x="53" y="68"/>
                  <a:pt x="58" y="76"/>
                  <a:pt x="56" y="79"/>
                </a:cubicBezTo>
                <a:cubicBezTo>
                  <a:pt x="55" y="83"/>
                  <a:pt x="50" y="90"/>
                  <a:pt x="51" y="96"/>
                </a:cubicBezTo>
                <a:cubicBezTo>
                  <a:pt x="41" y="96"/>
                  <a:pt x="41" y="96"/>
                  <a:pt x="41" y="96"/>
                </a:cubicBezTo>
                <a:cubicBezTo>
                  <a:pt x="39" y="94"/>
                  <a:pt x="35" y="94"/>
                  <a:pt x="37" y="90"/>
                </a:cubicBezTo>
                <a:cubicBezTo>
                  <a:pt x="39" y="86"/>
                  <a:pt x="40" y="81"/>
                  <a:pt x="40" y="78"/>
                </a:cubicBezTo>
                <a:cubicBezTo>
                  <a:pt x="39" y="75"/>
                  <a:pt x="39" y="76"/>
                  <a:pt x="34" y="73"/>
                </a:cubicBezTo>
                <a:cubicBezTo>
                  <a:pt x="29" y="70"/>
                  <a:pt x="26" y="67"/>
                  <a:pt x="23" y="67"/>
                </a:cubicBezTo>
                <a:cubicBezTo>
                  <a:pt x="20" y="67"/>
                  <a:pt x="10" y="67"/>
                  <a:pt x="6" y="64"/>
                </a:cubicBezTo>
                <a:cubicBezTo>
                  <a:pt x="4" y="63"/>
                  <a:pt x="2" y="59"/>
                  <a:pt x="0" y="55"/>
                </a:cubicBezTo>
                <a:cubicBezTo>
                  <a:pt x="3" y="53"/>
                  <a:pt x="9" y="50"/>
                  <a:pt x="13" y="46"/>
                </a:cubicBezTo>
                <a:cubicBezTo>
                  <a:pt x="15" y="43"/>
                  <a:pt x="27" y="35"/>
                  <a:pt x="29" y="29"/>
                </a:cubicBezTo>
                <a:cubicBezTo>
                  <a:pt x="31" y="23"/>
                  <a:pt x="35" y="13"/>
                  <a:pt x="35" y="12"/>
                </a:cubicBezTo>
                <a:cubicBezTo>
                  <a:pt x="35" y="11"/>
                  <a:pt x="37" y="5"/>
                  <a:pt x="38" y="5"/>
                </a:cubicBezTo>
                <a:cubicBezTo>
                  <a:pt x="39" y="4"/>
                  <a:pt x="42" y="3"/>
                  <a:pt x="42" y="6"/>
                </a:cubicBezTo>
                <a:cubicBezTo>
                  <a:pt x="42" y="10"/>
                  <a:pt x="41" y="12"/>
                  <a:pt x="41" y="14"/>
                </a:cubicBezTo>
                <a:cubicBezTo>
                  <a:pt x="41" y="15"/>
                  <a:pt x="43" y="16"/>
                  <a:pt x="45" y="19"/>
                </a:cubicBezTo>
                <a:cubicBezTo>
                  <a:pt x="45" y="22"/>
                  <a:pt x="47" y="25"/>
                  <a:pt x="45" y="26"/>
                </a:cubicBezTo>
                <a:cubicBezTo>
                  <a:pt x="43" y="27"/>
                  <a:pt x="40" y="26"/>
                  <a:pt x="40" y="27"/>
                </a:cubicBezTo>
                <a:cubicBezTo>
                  <a:pt x="40" y="28"/>
                  <a:pt x="37" y="33"/>
                  <a:pt x="38" y="35"/>
                </a:cubicBezTo>
                <a:cubicBezTo>
                  <a:pt x="39" y="36"/>
                  <a:pt x="39" y="36"/>
                  <a:pt x="41" y="36"/>
                </a:cubicBezTo>
                <a:cubicBezTo>
                  <a:pt x="42" y="36"/>
                  <a:pt x="53" y="30"/>
                  <a:pt x="53" y="29"/>
                </a:cubicBezTo>
                <a:cubicBezTo>
                  <a:pt x="54" y="29"/>
                  <a:pt x="57" y="21"/>
                  <a:pt x="56" y="20"/>
                </a:cubicBezTo>
                <a:cubicBezTo>
                  <a:pt x="56" y="19"/>
                  <a:pt x="50" y="20"/>
                  <a:pt x="50" y="18"/>
                </a:cubicBezTo>
                <a:cubicBezTo>
                  <a:pt x="50" y="16"/>
                  <a:pt x="52" y="7"/>
                  <a:pt x="54" y="6"/>
                </a:cubicBezTo>
                <a:cubicBezTo>
                  <a:pt x="55" y="5"/>
                  <a:pt x="63" y="2"/>
                  <a:pt x="65" y="2"/>
                </a:cubicBezTo>
                <a:cubicBezTo>
                  <a:pt x="68" y="2"/>
                  <a:pt x="72" y="3"/>
                  <a:pt x="75" y="3"/>
                </a:cubicBezTo>
                <a:cubicBezTo>
                  <a:pt x="79" y="3"/>
                  <a:pt x="81" y="0"/>
                  <a:pt x="83" y="2"/>
                </a:cubicBezTo>
                <a:cubicBezTo>
                  <a:pt x="85" y="3"/>
                  <a:pt x="82" y="12"/>
                  <a:pt x="91" y="12"/>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67" name="Freeform 163"/>
          <p:cNvSpPr>
            <a:spLocks/>
          </p:cNvSpPr>
          <p:nvPr>
            <p:custDataLst>
              <p:tags r:id="rId46"/>
            </p:custDataLst>
          </p:nvPr>
        </p:nvSpPr>
        <p:spPr bwMode="gray">
          <a:xfrm>
            <a:off x="4883226" y="4481875"/>
            <a:ext cx="69456" cy="58502"/>
          </a:xfrm>
          <a:custGeom>
            <a:avLst/>
            <a:gdLst>
              <a:gd name="T0" fmla="*/ 17 w 19"/>
              <a:gd name="T1" fmla="*/ 2 h 22"/>
              <a:gd name="T2" fmla="*/ 15 w 19"/>
              <a:gd name="T3" fmla="*/ 12 h 22"/>
              <a:gd name="T4" fmla="*/ 4 w 19"/>
              <a:gd name="T5" fmla="*/ 21 h 22"/>
              <a:gd name="T6" fmla="*/ 2 w 19"/>
              <a:gd name="T7" fmla="*/ 14 h 22"/>
              <a:gd name="T8" fmla="*/ 5 w 19"/>
              <a:gd name="T9" fmla="*/ 5 h 22"/>
              <a:gd name="T10" fmla="*/ 17 w 19"/>
              <a:gd name="T11" fmla="*/ 2 h 22"/>
            </a:gdLst>
            <a:ahLst/>
            <a:cxnLst>
              <a:cxn ang="0">
                <a:pos x="T0" y="T1"/>
              </a:cxn>
              <a:cxn ang="0">
                <a:pos x="T2" y="T3"/>
              </a:cxn>
              <a:cxn ang="0">
                <a:pos x="T4" y="T5"/>
              </a:cxn>
              <a:cxn ang="0">
                <a:pos x="T6" y="T7"/>
              </a:cxn>
              <a:cxn ang="0">
                <a:pos x="T8" y="T9"/>
              </a:cxn>
              <a:cxn ang="0">
                <a:pos x="T10" y="T11"/>
              </a:cxn>
            </a:cxnLst>
            <a:rect l="0" t="0" r="r" b="b"/>
            <a:pathLst>
              <a:path w="19" h="22">
                <a:moveTo>
                  <a:pt x="17" y="2"/>
                </a:moveTo>
                <a:cubicBezTo>
                  <a:pt x="19" y="4"/>
                  <a:pt x="17" y="9"/>
                  <a:pt x="15" y="12"/>
                </a:cubicBezTo>
                <a:cubicBezTo>
                  <a:pt x="13" y="15"/>
                  <a:pt x="8" y="22"/>
                  <a:pt x="4" y="21"/>
                </a:cubicBezTo>
                <a:cubicBezTo>
                  <a:pt x="0" y="20"/>
                  <a:pt x="4" y="16"/>
                  <a:pt x="2" y="14"/>
                </a:cubicBezTo>
                <a:cubicBezTo>
                  <a:pt x="0" y="11"/>
                  <a:pt x="1" y="9"/>
                  <a:pt x="5" y="5"/>
                </a:cubicBezTo>
                <a:cubicBezTo>
                  <a:pt x="5" y="5"/>
                  <a:pt x="14" y="0"/>
                  <a:pt x="17" y="2"/>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68" name="Freeform 164"/>
          <p:cNvSpPr>
            <a:spLocks/>
          </p:cNvSpPr>
          <p:nvPr>
            <p:custDataLst>
              <p:tags r:id="rId47"/>
            </p:custDataLst>
          </p:nvPr>
        </p:nvSpPr>
        <p:spPr bwMode="gray">
          <a:xfrm>
            <a:off x="3245044" y="4315236"/>
            <a:ext cx="335300" cy="168413"/>
          </a:xfrm>
          <a:custGeom>
            <a:avLst/>
            <a:gdLst>
              <a:gd name="T0" fmla="*/ 90 w 93"/>
              <a:gd name="T1" fmla="*/ 5 h 63"/>
              <a:gd name="T2" fmla="*/ 83 w 93"/>
              <a:gd name="T3" fmla="*/ 19 h 63"/>
              <a:gd name="T4" fmla="*/ 78 w 93"/>
              <a:gd name="T5" fmla="*/ 31 h 63"/>
              <a:gd name="T6" fmla="*/ 78 w 93"/>
              <a:gd name="T7" fmla="*/ 38 h 63"/>
              <a:gd name="T8" fmla="*/ 83 w 93"/>
              <a:gd name="T9" fmla="*/ 41 h 63"/>
              <a:gd name="T10" fmla="*/ 84 w 93"/>
              <a:gd name="T11" fmla="*/ 49 h 63"/>
              <a:gd name="T12" fmla="*/ 79 w 93"/>
              <a:gd name="T13" fmla="*/ 53 h 63"/>
              <a:gd name="T14" fmla="*/ 78 w 93"/>
              <a:gd name="T15" fmla="*/ 62 h 63"/>
              <a:gd name="T16" fmla="*/ 73 w 93"/>
              <a:gd name="T17" fmla="*/ 63 h 63"/>
              <a:gd name="T18" fmla="*/ 67 w 93"/>
              <a:gd name="T19" fmla="*/ 59 h 63"/>
              <a:gd name="T20" fmla="*/ 58 w 93"/>
              <a:gd name="T21" fmla="*/ 55 h 63"/>
              <a:gd name="T22" fmla="*/ 52 w 93"/>
              <a:gd name="T23" fmla="*/ 45 h 63"/>
              <a:gd name="T24" fmla="*/ 41 w 93"/>
              <a:gd name="T25" fmla="*/ 44 h 63"/>
              <a:gd name="T26" fmla="*/ 14 w 93"/>
              <a:gd name="T27" fmla="*/ 25 h 63"/>
              <a:gd name="T28" fmla="*/ 5 w 93"/>
              <a:gd name="T29" fmla="*/ 24 h 63"/>
              <a:gd name="T30" fmla="*/ 1 w 93"/>
              <a:gd name="T31" fmla="*/ 13 h 63"/>
              <a:gd name="T32" fmla="*/ 4 w 93"/>
              <a:gd name="T33" fmla="*/ 5 h 63"/>
              <a:gd name="T34" fmla="*/ 11 w 93"/>
              <a:gd name="T35" fmla="*/ 0 h 63"/>
              <a:gd name="T36" fmla="*/ 16 w 93"/>
              <a:gd name="T37" fmla="*/ 8 h 63"/>
              <a:gd name="T38" fmla="*/ 21 w 93"/>
              <a:gd name="T39" fmla="*/ 6 h 63"/>
              <a:gd name="T40" fmla="*/ 21 w 93"/>
              <a:gd name="T41" fmla="*/ 0 h 63"/>
              <a:gd name="T42" fmla="*/ 29 w 93"/>
              <a:gd name="T43" fmla="*/ 1 h 63"/>
              <a:gd name="T44" fmla="*/ 39 w 93"/>
              <a:gd name="T45" fmla="*/ 10 h 63"/>
              <a:gd name="T46" fmla="*/ 58 w 93"/>
              <a:gd name="T47" fmla="*/ 10 h 63"/>
              <a:gd name="T48" fmla="*/ 69 w 93"/>
              <a:gd name="T49" fmla="*/ 5 h 63"/>
              <a:gd name="T50" fmla="*/ 75 w 93"/>
              <a:gd name="T51" fmla="*/ 4 h 63"/>
              <a:gd name="T52" fmla="*/ 80 w 93"/>
              <a:gd name="T53" fmla="*/ 7 h 63"/>
              <a:gd name="T54" fmla="*/ 85 w 93"/>
              <a:gd name="T55" fmla="*/ 4 h 63"/>
              <a:gd name="T56" fmla="*/ 90 w 93"/>
              <a:gd name="T57"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63">
                <a:moveTo>
                  <a:pt x="90" y="5"/>
                </a:moveTo>
                <a:cubicBezTo>
                  <a:pt x="93" y="7"/>
                  <a:pt x="84" y="17"/>
                  <a:pt x="83" y="19"/>
                </a:cubicBezTo>
                <a:cubicBezTo>
                  <a:pt x="80" y="23"/>
                  <a:pt x="79" y="29"/>
                  <a:pt x="78" y="31"/>
                </a:cubicBezTo>
                <a:cubicBezTo>
                  <a:pt x="78" y="33"/>
                  <a:pt x="77" y="37"/>
                  <a:pt x="78" y="38"/>
                </a:cubicBezTo>
                <a:cubicBezTo>
                  <a:pt x="80" y="38"/>
                  <a:pt x="82" y="39"/>
                  <a:pt x="83" y="41"/>
                </a:cubicBezTo>
                <a:cubicBezTo>
                  <a:pt x="83" y="42"/>
                  <a:pt x="83" y="47"/>
                  <a:pt x="84" y="49"/>
                </a:cubicBezTo>
                <a:cubicBezTo>
                  <a:pt x="84" y="50"/>
                  <a:pt x="80" y="50"/>
                  <a:pt x="79" y="53"/>
                </a:cubicBezTo>
                <a:cubicBezTo>
                  <a:pt x="77" y="56"/>
                  <a:pt x="79" y="61"/>
                  <a:pt x="78" y="62"/>
                </a:cubicBezTo>
                <a:cubicBezTo>
                  <a:pt x="77" y="63"/>
                  <a:pt x="74" y="63"/>
                  <a:pt x="73" y="63"/>
                </a:cubicBezTo>
                <a:cubicBezTo>
                  <a:pt x="72" y="62"/>
                  <a:pt x="71" y="61"/>
                  <a:pt x="67" y="59"/>
                </a:cubicBezTo>
                <a:cubicBezTo>
                  <a:pt x="64" y="58"/>
                  <a:pt x="60" y="57"/>
                  <a:pt x="58" y="55"/>
                </a:cubicBezTo>
                <a:cubicBezTo>
                  <a:pt x="56" y="54"/>
                  <a:pt x="57" y="48"/>
                  <a:pt x="52" y="45"/>
                </a:cubicBezTo>
                <a:cubicBezTo>
                  <a:pt x="47" y="43"/>
                  <a:pt x="44" y="45"/>
                  <a:pt x="41" y="44"/>
                </a:cubicBezTo>
                <a:cubicBezTo>
                  <a:pt x="39" y="43"/>
                  <a:pt x="19" y="25"/>
                  <a:pt x="14" y="25"/>
                </a:cubicBezTo>
                <a:cubicBezTo>
                  <a:pt x="8" y="24"/>
                  <a:pt x="7" y="26"/>
                  <a:pt x="5" y="24"/>
                </a:cubicBezTo>
                <a:cubicBezTo>
                  <a:pt x="3" y="22"/>
                  <a:pt x="1" y="16"/>
                  <a:pt x="1" y="13"/>
                </a:cubicBezTo>
                <a:cubicBezTo>
                  <a:pt x="0" y="11"/>
                  <a:pt x="2" y="6"/>
                  <a:pt x="4" y="5"/>
                </a:cubicBezTo>
                <a:cubicBezTo>
                  <a:pt x="6" y="4"/>
                  <a:pt x="9" y="0"/>
                  <a:pt x="11" y="0"/>
                </a:cubicBezTo>
                <a:cubicBezTo>
                  <a:pt x="13" y="0"/>
                  <a:pt x="14" y="8"/>
                  <a:pt x="16" y="8"/>
                </a:cubicBezTo>
                <a:cubicBezTo>
                  <a:pt x="18" y="8"/>
                  <a:pt x="21" y="6"/>
                  <a:pt x="21" y="6"/>
                </a:cubicBezTo>
                <a:cubicBezTo>
                  <a:pt x="21" y="6"/>
                  <a:pt x="20" y="1"/>
                  <a:pt x="21" y="0"/>
                </a:cubicBezTo>
                <a:cubicBezTo>
                  <a:pt x="23" y="0"/>
                  <a:pt x="27" y="0"/>
                  <a:pt x="29" y="1"/>
                </a:cubicBezTo>
                <a:cubicBezTo>
                  <a:pt x="32" y="2"/>
                  <a:pt x="36" y="10"/>
                  <a:pt x="39" y="10"/>
                </a:cubicBezTo>
                <a:cubicBezTo>
                  <a:pt x="42" y="10"/>
                  <a:pt x="53" y="10"/>
                  <a:pt x="58" y="10"/>
                </a:cubicBezTo>
                <a:cubicBezTo>
                  <a:pt x="63" y="10"/>
                  <a:pt x="67" y="5"/>
                  <a:pt x="69" y="5"/>
                </a:cubicBezTo>
                <a:cubicBezTo>
                  <a:pt x="70" y="5"/>
                  <a:pt x="73" y="4"/>
                  <a:pt x="75" y="4"/>
                </a:cubicBezTo>
                <a:cubicBezTo>
                  <a:pt x="76" y="4"/>
                  <a:pt x="78" y="8"/>
                  <a:pt x="80" y="7"/>
                </a:cubicBezTo>
                <a:cubicBezTo>
                  <a:pt x="82" y="7"/>
                  <a:pt x="83" y="5"/>
                  <a:pt x="85" y="4"/>
                </a:cubicBezTo>
                <a:cubicBezTo>
                  <a:pt x="87" y="4"/>
                  <a:pt x="88" y="4"/>
                  <a:pt x="90" y="5"/>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69" name="Freeform 165"/>
          <p:cNvSpPr>
            <a:spLocks/>
          </p:cNvSpPr>
          <p:nvPr>
            <p:custDataLst>
              <p:tags r:id="rId48"/>
            </p:custDataLst>
          </p:nvPr>
        </p:nvSpPr>
        <p:spPr bwMode="gray">
          <a:xfrm>
            <a:off x="2799575" y="3435949"/>
            <a:ext cx="1101700" cy="927152"/>
          </a:xfrm>
          <a:custGeom>
            <a:avLst/>
            <a:gdLst>
              <a:gd name="T0" fmla="*/ 106 w 304"/>
              <a:gd name="T1" fmla="*/ 3 h 347"/>
              <a:gd name="T2" fmla="*/ 129 w 304"/>
              <a:gd name="T3" fmla="*/ 0 h 347"/>
              <a:gd name="T4" fmla="*/ 153 w 304"/>
              <a:gd name="T5" fmla="*/ 13 h 347"/>
              <a:gd name="T6" fmla="*/ 182 w 304"/>
              <a:gd name="T7" fmla="*/ 26 h 347"/>
              <a:gd name="T8" fmla="*/ 180 w 304"/>
              <a:gd name="T9" fmla="*/ 43 h 347"/>
              <a:gd name="T10" fmla="*/ 168 w 304"/>
              <a:gd name="T11" fmla="*/ 55 h 347"/>
              <a:gd name="T12" fmla="*/ 146 w 304"/>
              <a:gd name="T13" fmla="*/ 71 h 347"/>
              <a:gd name="T14" fmla="*/ 146 w 304"/>
              <a:gd name="T15" fmla="*/ 85 h 347"/>
              <a:gd name="T16" fmla="*/ 145 w 304"/>
              <a:gd name="T17" fmla="*/ 108 h 347"/>
              <a:gd name="T18" fmla="*/ 173 w 304"/>
              <a:gd name="T19" fmla="*/ 132 h 347"/>
              <a:gd name="T20" fmla="*/ 205 w 304"/>
              <a:gd name="T21" fmla="*/ 191 h 347"/>
              <a:gd name="T22" fmla="*/ 239 w 304"/>
              <a:gd name="T23" fmla="*/ 198 h 347"/>
              <a:gd name="T24" fmla="*/ 232 w 304"/>
              <a:gd name="T25" fmla="*/ 211 h 347"/>
              <a:gd name="T26" fmla="*/ 277 w 304"/>
              <a:gd name="T27" fmla="*/ 240 h 347"/>
              <a:gd name="T28" fmla="*/ 293 w 304"/>
              <a:gd name="T29" fmla="*/ 253 h 347"/>
              <a:gd name="T30" fmla="*/ 301 w 304"/>
              <a:gd name="T31" fmla="*/ 279 h 347"/>
              <a:gd name="T32" fmla="*/ 289 w 304"/>
              <a:gd name="T33" fmla="*/ 271 h 347"/>
              <a:gd name="T34" fmla="*/ 276 w 304"/>
              <a:gd name="T35" fmla="*/ 260 h 347"/>
              <a:gd name="T36" fmla="*/ 253 w 304"/>
              <a:gd name="T37" fmla="*/ 263 h 347"/>
              <a:gd name="T38" fmla="*/ 246 w 304"/>
              <a:gd name="T39" fmla="*/ 279 h 347"/>
              <a:gd name="T40" fmla="*/ 264 w 304"/>
              <a:gd name="T41" fmla="*/ 292 h 347"/>
              <a:gd name="T42" fmla="*/ 266 w 304"/>
              <a:gd name="T43" fmla="*/ 307 h 347"/>
              <a:gd name="T44" fmla="*/ 252 w 304"/>
              <a:gd name="T45" fmla="*/ 312 h 347"/>
              <a:gd name="T46" fmla="*/ 246 w 304"/>
              <a:gd name="T47" fmla="*/ 330 h 347"/>
              <a:gd name="T48" fmla="*/ 234 w 304"/>
              <a:gd name="T49" fmla="*/ 339 h 347"/>
              <a:gd name="T50" fmla="*/ 219 w 304"/>
              <a:gd name="T51" fmla="*/ 345 h 347"/>
              <a:gd name="T52" fmla="*/ 224 w 304"/>
              <a:gd name="T53" fmla="*/ 332 h 347"/>
              <a:gd name="T54" fmla="*/ 224 w 304"/>
              <a:gd name="T55" fmla="*/ 319 h 347"/>
              <a:gd name="T56" fmla="*/ 235 w 304"/>
              <a:gd name="T57" fmla="*/ 315 h 347"/>
              <a:gd name="T58" fmla="*/ 233 w 304"/>
              <a:gd name="T59" fmla="*/ 303 h 347"/>
              <a:gd name="T60" fmla="*/ 225 w 304"/>
              <a:gd name="T61" fmla="*/ 274 h 347"/>
              <a:gd name="T62" fmla="*/ 215 w 304"/>
              <a:gd name="T63" fmla="*/ 269 h 347"/>
              <a:gd name="T64" fmla="*/ 202 w 304"/>
              <a:gd name="T65" fmla="*/ 258 h 347"/>
              <a:gd name="T66" fmla="*/ 198 w 304"/>
              <a:gd name="T67" fmla="*/ 242 h 347"/>
              <a:gd name="T68" fmla="*/ 188 w 304"/>
              <a:gd name="T69" fmla="*/ 238 h 347"/>
              <a:gd name="T70" fmla="*/ 175 w 304"/>
              <a:gd name="T71" fmla="*/ 226 h 347"/>
              <a:gd name="T72" fmla="*/ 153 w 304"/>
              <a:gd name="T73" fmla="*/ 218 h 347"/>
              <a:gd name="T74" fmla="*/ 132 w 304"/>
              <a:gd name="T75" fmla="*/ 197 h 347"/>
              <a:gd name="T76" fmla="*/ 97 w 304"/>
              <a:gd name="T77" fmla="*/ 153 h 347"/>
              <a:gd name="T78" fmla="*/ 89 w 304"/>
              <a:gd name="T79" fmla="*/ 132 h 347"/>
              <a:gd name="T80" fmla="*/ 73 w 304"/>
              <a:gd name="T81" fmla="*/ 103 h 347"/>
              <a:gd name="T82" fmla="*/ 47 w 304"/>
              <a:gd name="T83" fmla="*/ 87 h 347"/>
              <a:gd name="T84" fmla="*/ 31 w 304"/>
              <a:gd name="T85" fmla="*/ 102 h 347"/>
              <a:gd name="T86" fmla="*/ 11 w 304"/>
              <a:gd name="T87" fmla="*/ 106 h 347"/>
              <a:gd name="T88" fmla="*/ 21 w 304"/>
              <a:gd name="T89" fmla="*/ 91 h 347"/>
              <a:gd name="T90" fmla="*/ 2 w 304"/>
              <a:gd name="T91" fmla="*/ 55 h 347"/>
              <a:gd name="T92" fmla="*/ 7 w 304"/>
              <a:gd name="T93" fmla="*/ 29 h 347"/>
              <a:gd name="T94" fmla="*/ 25 w 304"/>
              <a:gd name="T95" fmla="*/ 25 h 347"/>
              <a:gd name="T96" fmla="*/ 48 w 304"/>
              <a:gd name="T97" fmla="*/ 9 h 347"/>
              <a:gd name="T98" fmla="*/ 57 w 304"/>
              <a:gd name="T99" fmla="*/ 22 h 347"/>
              <a:gd name="T100" fmla="*/ 68 w 304"/>
              <a:gd name="T101" fmla="*/ 33 h 347"/>
              <a:gd name="T102" fmla="*/ 87 w 304"/>
              <a:gd name="T103" fmla="*/ 2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4" h="347">
                <a:moveTo>
                  <a:pt x="97" y="16"/>
                </a:moveTo>
                <a:cubicBezTo>
                  <a:pt x="101" y="14"/>
                  <a:pt x="105" y="8"/>
                  <a:pt x="106" y="3"/>
                </a:cubicBezTo>
                <a:cubicBezTo>
                  <a:pt x="117" y="7"/>
                  <a:pt x="117" y="7"/>
                  <a:pt x="117" y="7"/>
                </a:cubicBezTo>
                <a:cubicBezTo>
                  <a:pt x="120" y="8"/>
                  <a:pt x="129" y="0"/>
                  <a:pt x="129" y="0"/>
                </a:cubicBezTo>
                <a:cubicBezTo>
                  <a:pt x="129" y="0"/>
                  <a:pt x="144" y="0"/>
                  <a:pt x="147" y="1"/>
                </a:cubicBezTo>
                <a:cubicBezTo>
                  <a:pt x="151" y="1"/>
                  <a:pt x="148" y="11"/>
                  <a:pt x="153" y="13"/>
                </a:cubicBezTo>
                <a:cubicBezTo>
                  <a:pt x="158" y="14"/>
                  <a:pt x="174" y="21"/>
                  <a:pt x="174" y="21"/>
                </a:cubicBezTo>
                <a:cubicBezTo>
                  <a:pt x="182" y="26"/>
                  <a:pt x="182" y="26"/>
                  <a:pt x="182" y="26"/>
                </a:cubicBezTo>
                <a:cubicBezTo>
                  <a:pt x="179" y="27"/>
                  <a:pt x="179" y="29"/>
                  <a:pt x="180" y="32"/>
                </a:cubicBezTo>
                <a:cubicBezTo>
                  <a:pt x="181" y="36"/>
                  <a:pt x="180" y="43"/>
                  <a:pt x="180" y="43"/>
                </a:cubicBezTo>
                <a:cubicBezTo>
                  <a:pt x="179" y="53"/>
                  <a:pt x="179" y="53"/>
                  <a:pt x="179" y="53"/>
                </a:cubicBezTo>
                <a:cubicBezTo>
                  <a:pt x="176" y="53"/>
                  <a:pt x="171" y="54"/>
                  <a:pt x="168" y="55"/>
                </a:cubicBezTo>
                <a:cubicBezTo>
                  <a:pt x="165" y="56"/>
                  <a:pt x="151" y="60"/>
                  <a:pt x="148" y="62"/>
                </a:cubicBezTo>
                <a:cubicBezTo>
                  <a:pt x="146" y="64"/>
                  <a:pt x="145" y="70"/>
                  <a:pt x="146" y="71"/>
                </a:cubicBezTo>
                <a:cubicBezTo>
                  <a:pt x="146" y="73"/>
                  <a:pt x="151" y="77"/>
                  <a:pt x="151" y="79"/>
                </a:cubicBezTo>
                <a:cubicBezTo>
                  <a:pt x="150" y="81"/>
                  <a:pt x="148" y="85"/>
                  <a:pt x="146" y="85"/>
                </a:cubicBezTo>
                <a:cubicBezTo>
                  <a:pt x="145" y="85"/>
                  <a:pt x="142" y="84"/>
                  <a:pt x="142" y="88"/>
                </a:cubicBezTo>
                <a:cubicBezTo>
                  <a:pt x="141" y="91"/>
                  <a:pt x="143" y="106"/>
                  <a:pt x="145" y="108"/>
                </a:cubicBezTo>
                <a:cubicBezTo>
                  <a:pt x="147" y="110"/>
                  <a:pt x="157" y="119"/>
                  <a:pt x="161" y="122"/>
                </a:cubicBezTo>
                <a:cubicBezTo>
                  <a:pt x="164" y="125"/>
                  <a:pt x="172" y="130"/>
                  <a:pt x="173" y="132"/>
                </a:cubicBezTo>
                <a:cubicBezTo>
                  <a:pt x="175" y="135"/>
                  <a:pt x="180" y="158"/>
                  <a:pt x="181" y="163"/>
                </a:cubicBezTo>
                <a:cubicBezTo>
                  <a:pt x="183" y="168"/>
                  <a:pt x="201" y="189"/>
                  <a:pt x="205" y="191"/>
                </a:cubicBezTo>
                <a:cubicBezTo>
                  <a:pt x="208" y="194"/>
                  <a:pt x="215" y="197"/>
                  <a:pt x="221" y="197"/>
                </a:cubicBezTo>
                <a:cubicBezTo>
                  <a:pt x="228" y="197"/>
                  <a:pt x="237" y="197"/>
                  <a:pt x="239" y="198"/>
                </a:cubicBezTo>
                <a:cubicBezTo>
                  <a:pt x="241" y="199"/>
                  <a:pt x="243" y="203"/>
                  <a:pt x="241" y="205"/>
                </a:cubicBezTo>
                <a:cubicBezTo>
                  <a:pt x="240" y="206"/>
                  <a:pt x="232" y="207"/>
                  <a:pt x="232" y="211"/>
                </a:cubicBezTo>
                <a:cubicBezTo>
                  <a:pt x="232" y="214"/>
                  <a:pt x="253" y="227"/>
                  <a:pt x="260" y="229"/>
                </a:cubicBezTo>
                <a:cubicBezTo>
                  <a:pt x="267" y="231"/>
                  <a:pt x="273" y="238"/>
                  <a:pt x="277" y="240"/>
                </a:cubicBezTo>
                <a:cubicBezTo>
                  <a:pt x="280" y="242"/>
                  <a:pt x="285" y="245"/>
                  <a:pt x="289" y="246"/>
                </a:cubicBezTo>
                <a:cubicBezTo>
                  <a:pt x="292" y="248"/>
                  <a:pt x="290" y="251"/>
                  <a:pt x="293" y="253"/>
                </a:cubicBezTo>
                <a:cubicBezTo>
                  <a:pt x="297" y="256"/>
                  <a:pt x="304" y="263"/>
                  <a:pt x="304" y="267"/>
                </a:cubicBezTo>
                <a:cubicBezTo>
                  <a:pt x="304" y="270"/>
                  <a:pt x="301" y="277"/>
                  <a:pt x="301" y="279"/>
                </a:cubicBezTo>
                <a:cubicBezTo>
                  <a:pt x="301" y="281"/>
                  <a:pt x="297" y="281"/>
                  <a:pt x="295" y="279"/>
                </a:cubicBezTo>
                <a:cubicBezTo>
                  <a:pt x="293" y="277"/>
                  <a:pt x="289" y="275"/>
                  <a:pt x="289" y="271"/>
                </a:cubicBezTo>
                <a:cubicBezTo>
                  <a:pt x="289" y="267"/>
                  <a:pt x="287" y="264"/>
                  <a:pt x="286" y="262"/>
                </a:cubicBezTo>
                <a:cubicBezTo>
                  <a:pt x="285" y="261"/>
                  <a:pt x="280" y="262"/>
                  <a:pt x="276" y="260"/>
                </a:cubicBezTo>
                <a:cubicBezTo>
                  <a:pt x="272" y="258"/>
                  <a:pt x="268" y="252"/>
                  <a:pt x="265" y="252"/>
                </a:cubicBezTo>
                <a:cubicBezTo>
                  <a:pt x="262" y="251"/>
                  <a:pt x="255" y="259"/>
                  <a:pt x="253" y="263"/>
                </a:cubicBezTo>
                <a:cubicBezTo>
                  <a:pt x="252" y="267"/>
                  <a:pt x="251" y="270"/>
                  <a:pt x="249" y="272"/>
                </a:cubicBezTo>
                <a:cubicBezTo>
                  <a:pt x="249" y="274"/>
                  <a:pt x="246" y="275"/>
                  <a:pt x="246" y="279"/>
                </a:cubicBezTo>
                <a:cubicBezTo>
                  <a:pt x="246" y="282"/>
                  <a:pt x="250" y="284"/>
                  <a:pt x="254" y="284"/>
                </a:cubicBezTo>
                <a:cubicBezTo>
                  <a:pt x="257" y="284"/>
                  <a:pt x="262" y="290"/>
                  <a:pt x="264" y="292"/>
                </a:cubicBezTo>
                <a:cubicBezTo>
                  <a:pt x="266" y="295"/>
                  <a:pt x="263" y="298"/>
                  <a:pt x="263" y="301"/>
                </a:cubicBezTo>
                <a:cubicBezTo>
                  <a:pt x="264" y="304"/>
                  <a:pt x="265" y="305"/>
                  <a:pt x="266" y="307"/>
                </a:cubicBezTo>
                <a:cubicBezTo>
                  <a:pt x="267" y="308"/>
                  <a:pt x="264" y="313"/>
                  <a:pt x="262" y="312"/>
                </a:cubicBezTo>
                <a:cubicBezTo>
                  <a:pt x="261" y="311"/>
                  <a:pt x="257" y="309"/>
                  <a:pt x="252" y="312"/>
                </a:cubicBezTo>
                <a:cubicBezTo>
                  <a:pt x="246" y="316"/>
                  <a:pt x="247" y="316"/>
                  <a:pt x="247" y="321"/>
                </a:cubicBezTo>
                <a:cubicBezTo>
                  <a:pt x="247" y="326"/>
                  <a:pt x="248" y="328"/>
                  <a:pt x="246" y="330"/>
                </a:cubicBezTo>
                <a:cubicBezTo>
                  <a:pt x="244" y="332"/>
                  <a:pt x="241" y="331"/>
                  <a:pt x="239" y="333"/>
                </a:cubicBezTo>
                <a:cubicBezTo>
                  <a:pt x="237" y="336"/>
                  <a:pt x="235" y="336"/>
                  <a:pt x="234" y="339"/>
                </a:cubicBezTo>
                <a:cubicBezTo>
                  <a:pt x="233" y="342"/>
                  <a:pt x="233" y="346"/>
                  <a:pt x="231" y="346"/>
                </a:cubicBezTo>
                <a:cubicBezTo>
                  <a:pt x="228" y="347"/>
                  <a:pt x="221" y="347"/>
                  <a:pt x="219" y="345"/>
                </a:cubicBezTo>
                <a:cubicBezTo>
                  <a:pt x="217" y="342"/>
                  <a:pt x="218" y="336"/>
                  <a:pt x="219" y="335"/>
                </a:cubicBezTo>
                <a:cubicBezTo>
                  <a:pt x="221" y="334"/>
                  <a:pt x="223" y="334"/>
                  <a:pt x="224" y="332"/>
                </a:cubicBezTo>
                <a:cubicBezTo>
                  <a:pt x="225" y="331"/>
                  <a:pt x="229" y="325"/>
                  <a:pt x="227" y="324"/>
                </a:cubicBezTo>
                <a:cubicBezTo>
                  <a:pt x="226" y="322"/>
                  <a:pt x="224" y="320"/>
                  <a:pt x="224" y="319"/>
                </a:cubicBezTo>
                <a:cubicBezTo>
                  <a:pt x="224" y="318"/>
                  <a:pt x="229" y="316"/>
                  <a:pt x="231" y="316"/>
                </a:cubicBezTo>
                <a:cubicBezTo>
                  <a:pt x="232" y="316"/>
                  <a:pt x="233" y="317"/>
                  <a:pt x="235" y="315"/>
                </a:cubicBezTo>
                <a:cubicBezTo>
                  <a:pt x="237" y="314"/>
                  <a:pt x="239" y="311"/>
                  <a:pt x="237" y="308"/>
                </a:cubicBezTo>
                <a:cubicBezTo>
                  <a:pt x="234" y="306"/>
                  <a:pt x="233" y="306"/>
                  <a:pt x="233" y="303"/>
                </a:cubicBezTo>
                <a:cubicBezTo>
                  <a:pt x="233" y="300"/>
                  <a:pt x="231" y="290"/>
                  <a:pt x="229" y="287"/>
                </a:cubicBezTo>
                <a:cubicBezTo>
                  <a:pt x="227" y="283"/>
                  <a:pt x="226" y="278"/>
                  <a:pt x="225" y="274"/>
                </a:cubicBezTo>
                <a:cubicBezTo>
                  <a:pt x="225" y="269"/>
                  <a:pt x="223" y="265"/>
                  <a:pt x="220" y="266"/>
                </a:cubicBezTo>
                <a:cubicBezTo>
                  <a:pt x="216" y="266"/>
                  <a:pt x="218" y="270"/>
                  <a:pt x="215" y="269"/>
                </a:cubicBezTo>
                <a:cubicBezTo>
                  <a:pt x="212" y="269"/>
                  <a:pt x="213" y="270"/>
                  <a:pt x="210" y="267"/>
                </a:cubicBezTo>
                <a:cubicBezTo>
                  <a:pt x="207" y="264"/>
                  <a:pt x="202" y="262"/>
                  <a:pt x="202" y="258"/>
                </a:cubicBezTo>
                <a:cubicBezTo>
                  <a:pt x="202" y="255"/>
                  <a:pt x="205" y="255"/>
                  <a:pt x="204" y="252"/>
                </a:cubicBezTo>
                <a:cubicBezTo>
                  <a:pt x="203" y="249"/>
                  <a:pt x="200" y="242"/>
                  <a:pt x="198" y="242"/>
                </a:cubicBezTo>
                <a:cubicBezTo>
                  <a:pt x="196" y="243"/>
                  <a:pt x="188" y="248"/>
                  <a:pt x="186" y="245"/>
                </a:cubicBezTo>
                <a:cubicBezTo>
                  <a:pt x="184" y="243"/>
                  <a:pt x="191" y="241"/>
                  <a:pt x="188" y="238"/>
                </a:cubicBezTo>
                <a:cubicBezTo>
                  <a:pt x="185" y="235"/>
                  <a:pt x="184" y="236"/>
                  <a:pt x="181" y="236"/>
                </a:cubicBezTo>
                <a:cubicBezTo>
                  <a:pt x="177" y="236"/>
                  <a:pt x="178" y="231"/>
                  <a:pt x="175" y="226"/>
                </a:cubicBezTo>
                <a:cubicBezTo>
                  <a:pt x="173" y="221"/>
                  <a:pt x="168" y="218"/>
                  <a:pt x="163" y="218"/>
                </a:cubicBezTo>
                <a:cubicBezTo>
                  <a:pt x="159" y="217"/>
                  <a:pt x="154" y="217"/>
                  <a:pt x="153" y="218"/>
                </a:cubicBezTo>
                <a:cubicBezTo>
                  <a:pt x="152" y="218"/>
                  <a:pt x="151" y="214"/>
                  <a:pt x="145" y="211"/>
                </a:cubicBezTo>
                <a:cubicBezTo>
                  <a:pt x="140" y="207"/>
                  <a:pt x="135" y="203"/>
                  <a:pt x="132" y="197"/>
                </a:cubicBezTo>
                <a:cubicBezTo>
                  <a:pt x="129" y="192"/>
                  <a:pt x="115" y="173"/>
                  <a:pt x="113" y="172"/>
                </a:cubicBezTo>
                <a:cubicBezTo>
                  <a:pt x="111" y="171"/>
                  <a:pt x="99" y="156"/>
                  <a:pt x="97" y="153"/>
                </a:cubicBezTo>
                <a:cubicBezTo>
                  <a:pt x="93" y="150"/>
                  <a:pt x="89" y="152"/>
                  <a:pt x="88" y="148"/>
                </a:cubicBezTo>
                <a:cubicBezTo>
                  <a:pt x="87" y="143"/>
                  <a:pt x="91" y="140"/>
                  <a:pt x="89" y="132"/>
                </a:cubicBezTo>
                <a:cubicBezTo>
                  <a:pt x="87" y="123"/>
                  <a:pt x="88" y="112"/>
                  <a:pt x="85" y="108"/>
                </a:cubicBezTo>
                <a:cubicBezTo>
                  <a:pt x="81" y="105"/>
                  <a:pt x="76" y="107"/>
                  <a:pt x="73" y="103"/>
                </a:cubicBezTo>
                <a:cubicBezTo>
                  <a:pt x="70" y="98"/>
                  <a:pt x="64" y="93"/>
                  <a:pt x="59" y="90"/>
                </a:cubicBezTo>
                <a:cubicBezTo>
                  <a:pt x="55" y="88"/>
                  <a:pt x="51" y="86"/>
                  <a:pt x="47" y="87"/>
                </a:cubicBezTo>
                <a:cubicBezTo>
                  <a:pt x="43" y="88"/>
                  <a:pt x="43" y="89"/>
                  <a:pt x="39" y="94"/>
                </a:cubicBezTo>
                <a:cubicBezTo>
                  <a:pt x="35" y="98"/>
                  <a:pt x="34" y="100"/>
                  <a:pt x="31" y="102"/>
                </a:cubicBezTo>
                <a:cubicBezTo>
                  <a:pt x="27" y="104"/>
                  <a:pt x="17" y="105"/>
                  <a:pt x="13" y="106"/>
                </a:cubicBezTo>
                <a:cubicBezTo>
                  <a:pt x="12" y="106"/>
                  <a:pt x="12" y="106"/>
                  <a:pt x="11" y="106"/>
                </a:cubicBezTo>
                <a:cubicBezTo>
                  <a:pt x="11" y="104"/>
                  <a:pt x="12" y="103"/>
                  <a:pt x="13" y="102"/>
                </a:cubicBezTo>
                <a:cubicBezTo>
                  <a:pt x="17" y="99"/>
                  <a:pt x="26" y="94"/>
                  <a:pt x="21" y="91"/>
                </a:cubicBezTo>
                <a:cubicBezTo>
                  <a:pt x="16" y="87"/>
                  <a:pt x="3" y="88"/>
                  <a:pt x="2" y="80"/>
                </a:cubicBezTo>
                <a:cubicBezTo>
                  <a:pt x="2" y="72"/>
                  <a:pt x="0" y="59"/>
                  <a:pt x="2" y="55"/>
                </a:cubicBezTo>
                <a:cubicBezTo>
                  <a:pt x="5" y="51"/>
                  <a:pt x="15" y="47"/>
                  <a:pt x="14" y="44"/>
                </a:cubicBezTo>
                <a:cubicBezTo>
                  <a:pt x="14" y="41"/>
                  <a:pt x="6" y="31"/>
                  <a:pt x="7" y="29"/>
                </a:cubicBezTo>
                <a:cubicBezTo>
                  <a:pt x="8" y="26"/>
                  <a:pt x="16" y="27"/>
                  <a:pt x="16" y="23"/>
                </a:cubicBezTo>
                <a:cubicBezTo>
                  <a:pt x="25" y="25"/>
                  <a:pt x="25" y="25"/>
                  <a:pt x="25" y="25"/>
                </a:cubicBezTo>
                <a:cubicBezTo>
                  <a:pt x="29" y="25"/>
                  <a:pt x="33" y="26"/>
                  <a:pt x="35" y="24"/>
                </a:cubicBezTo>
                <a:cubicBezTo>
                  <a:pt x="37" y="22"/>
                  <a:pt x="45" y="9"/>
                  <a:pt x="48" y="9"/>
                </a:cubicBezTo>
                <a:cubicBezTo>
                  <a:pt x="51" y="9"/>
                  <a:pt x="52" y="10"/>
                  <a:pt x="55" y="11"/>
                </a:cubicBezTo>
                <a:cubicBezTo>
                  <a:pt x="57" y="12"/>
                  <a:pt x="55" y="18"/>
                  <a:pt x="57" y="22"/>
                </a:cubicBezTo>
                <a:cubicBezTo>
                  <a:pt x="57" y="25"/>
                  <a:pt x="59" y="36"/>
                  <a:pt x="61" y="36"/>
                </a:cubicBezTo>
                <a:cubicBezTo>
                  <a:pt x="63" y="36"/>
                  <a:pt x="68" y="33"/>
                  <a:pt x="68" y="33"/>
                </a:cubicBezTo>
                <a:cubicBezTo>
                  <a:pt x="68" y="33"/>
                  <a:pt x="73" y="11"/>
                  <a:pt x="75" y="12"/>
                </a:cubicBezTo>
                <a:cubicBezTo>
                  <a:pt x="78" y="13"/>
                  <a:pt x="85" y="21"/>
                  <a:pt x="87" y="20"/>
                </a:cubicBezTo>
                <a:cubicBezTo>
                  <a:pt x="89" y="18"/>
                  <a:pt x="93" y="18"/>
                  <a:pt x="97" y="16"/>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70" name="Freeform 166"/>
          <p:cNvSpPr>
            <a:spLocks/>
          </p:cNvSpPr>
          <p:nvPr>
            <p:custDataLst>
              <p:tags r:id="rId49"/>
            </p:custDataLst>
          </p:nvPr>
        </p:nvSpPr>
        <p:spPr bwMode="gray">
          <a:xfrm>
            <a:off x="2845080" y="3987276"/>
            <a:ext cx="165256" cy="228686"/>
          </a:xfrm>
          <a:custGeom>
            <a:avLst/>
            <a:gdLst>
              <a:gd name="T0" fmla="*/ 44 w 46"/>
              <a:gd name="T1" fmla="*/ 9 h 86"/>
              <a:gd name="T2" fmla="*/ 46 w 46"/>
              <a:gd name="T3" fmla="*/ 29 h 86"/>
              <a:gd name="T4" fmla="*/ 39 w 46"/>
              <a:gd name="T5" fmla="*/ 37 h 86"/>
              <a:gd name="T6" fmla="*/ 42 w 46"/>
              <a:gd name="T7" fmla="*/ 50 h 86"/>
              <a:gd name="T8" fmla="*/ 34 w 46"/>
              <a:gd name="T9" fmla="*/ 79 h 86"/>
              <a:gd name="T10" fmla="*/ 24 w 46"/>
              <a:gd name="T11" fmla="*/ 73 h 86"/>
              <a:gd name="T12" fmla="*/ 17 w 46"/>
              <a:gd name="T13" fmla="*/ 83 h 86"/>
              <a:gd name="T14" fmla="*/ 4 w 46"/>
              <a:gd name="T15" fmla="*/ 83 h 86"/>
              <a:gd name="T16" fmla="*/ 0 w 46"/>
              <a:gd name="T17" fmla="*/ 73 h 86"/>
              <a:gd name="T18" fmla="*/ 2 w 46"/>
              <a:gd name="T19" fmla="*/ 59 h 86"/>
              <a:gd name="T20" fmla="*/ 6 w 46"/>
              <a:gd name="T21" fmla="*/ 32 h 86"/>
              <a:gd name="T22" fmla="*/ 1 w 46"/>
              <a:gd name="T23" fmla="*/ 17 h 86"/>
              <a:gd name="T24" fmla="*/ 6 w 46"/>
              <a:gd name="T25" fmla="*/ 3 h 86"/>
              <a:gd name="T26" fmla="*/ 14 w 46"/>
              <a:gd name="T27" fmla="*/ 11 h 86"/>
              <a:gd name="T28" fmla="*/ 34 w 46"/>
              <a:gd name="T29" fmla="*/ 0 h 86"/>
              <a:gd name="T30" fmla="*/ 44 w 46"/>
              <a:gd name="T31" fmla="*/ 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86">
                <a:moveTo>
                  <a:pt x="44" y="9"/>
                </a:moveTo>
                <a:cubicBezTo>
                  <a:pt x="46" y="17"/>
                  <a:pt x="46" y="24"/>
                  <a:pt x="46" y="29"/>
                </a:cubicBezTo>
                <a:cubicBezTo>
                  <a:pt x="46" y="33"/>
                  <a:pt x="39" y="33"/>
                  <a:pt x="39" y="37"/>
                </a:cubicBezTo>
                <a:cubicBezTo>
                  <a:pt x="39" y="41"/>
                  <a:pt x="44" y="44"/>
                  <a:pt x="42" y="50"/>
                </a:cubicBezTo>
                <a:cubicBezTo>
                  <a:pt x="40" y="56"/>
                  <a:pt x="37" y="79"/>
                  <a:pt x="34" y="79"/>
                </a:cubicBezTo>
                <a:cubicBezTo>
                  <a:pt x="32" y="80"/>
                  <a:pt x="28" y="73"/>
                  <a:pt x="24" y="73"/>
                </a:cubicBezTo>
                <a:cubicBezTo>
                  <a:pt x="14" y="72"/>
                  <a:pt x="22" y="83"/>
                  <a:pt x="17" y="83"/>
                </a:cubicBezTo>
                <a:cubicBezTo>
                  <a:pt x="12" y="83"/>
                  <a:pt x="9" y="86"/>
                  <a:pt x="4" y="83"/>
                </a:cubicBezTo>
                <a:cubicBezTo>
                  <a:pt x="0" y="81"/>
                  <a:pt x="0" y="73"/>
                  <a:pt x="0" y="73"/>
                </a:cubicBezTo>
                <a:cubicBezTo>
                  <a:pt x="2" y="59"/>
                  <a:pt x="2" y="59"/>
                  <a:pt x="2" y="59"/>
                </a:cubicBezTo>
                <a:cubicBezTo>
                  <a:pt x="4" y="55"/>
                  <a:pt x="7" y="38"/>
                  <a:pt x="6" y="32"/>
                </a:cubicBezTo>
                <a:cubicBezTo>
                  <a:pt x="6" y="26"/>
                  <a:pt x="1" y="17"/>
                  <a:pt x="1" y="17"/>
                </a:cubicBezTo>
                <a:cubicBezTo>
                  <a:pt x="1" y="17"/>
                  <a:pt x="2" y="5"/>
                  <a:pt x="6" y="3"/>
                </a:cubicBezTo>
                <a:cubicBezTo>
                  <a:pt x="11" y="2"/>
                  <a:pt x="8" y="13"/>
                  <a:pt x="14" y="11"/>
                </a:cubicBezTo>
                <a:cubicBezTo>
                  <a:pt x="20" y="9"/>
                  <a:pt x="29" y="0"/>
                  <a:pt x="34" y="0"/>
                </a:cubicBezTo>
                <a:cubicBezTo>
                  <a:pt x="38" y="0"/>
                  <a:pt x="41" y="2"/>
                  <a:pt x="44" y="9"/>
                </a:cubicBezTo>
                <a:close/>
              </a:path>
            </a:pathLst>
          </a:custGeom>
          <a:solidFill>
            <a:srgbClr val="00AFD0"/>
          </a:solidFill>
          <a:ln w="9525" cap="flat">
            <a:solidFill>
              <a:srgbClr val="FFFFFF"/>
            </a:solidFill>
            <a:prstDash val="solid"/>
            <a:miter lim="800000"/>
            <a:headEnd/>
            <a:tailEnd/>
          </a:ln>
        </p:spPr>
        <p:txBody>
          <a:bodyPr/>
          <a:lstStyle/>
          <a:p>
            <a:endParaRPr lang="en-US" dirty="0"/>
          </a:p>
        </p:txBody>
      </p:sp>
      <p:sp>
        <p:nvSpPr>
          <p:cNvPr id="171" name="Freeform 167"/>
          <p:cNvSpPr>
            <a:spLocks/>
          </p:cNvSpPr>
          <p:nvPr>
            <p:custDataLst>
              <p:tags r:id="rId50"/>
            </p:custDataLst>
          </p:nvPr>
        </p:nvSpPr>
        <p:spPr bwMode="gray">
          <a:xfrm>
            <a:off x="2799575" y="3065443"/>
            <a:ext cx="107776" cy="97502"/>
          </a:xfrm>
          <a:custGeom>
            <a:avLst/>
            <a:gdLst>
              <a:gd name="T0" fmla="*/ 23 w 30"/>
              <a:gd name="T1" fmla="*/ 9 h 36"/>
              <a:gd name="T2" fmla="*/ 30 w 30"/>
              <a:gd name="T3" fmla="*/ 18 h 36"/>
              <a:gd name="T4" fmla="*/ 22 w 30"/>
              <a:gd name="T5" fmla="*/ 28 h 36"/>
              <a:gd name="T6" fmla="*/ 17 w 30"/>
              <a:gd name="T7" fmla="*/ 36 h 36"/>
              <a:gd name="T8" fmla="*/ 10 w 30"/>
              <a:gd name="T9" fmla="*/ 32 h 36"/>
              <a:gd name="T10" fmla="*/ 0 w 30"/>
              <a:gd name="T11" fmla="*/ 29 h 36"/>
              <a:gd name="T12" fmla="*/ 7 w 30"/>
              <a:gd name="T13" fmla="*/ 20 h 36"/>
              <a:gd name="T14" fmla="*/ 8 w 30"/>
              <a:gd name="T15" fmla="*/ 15 h 36"/>
              <a:gd name="T16" fmla="*/ 12 w 30"/>
              <a:gd name="T17" fmla="*/ 4 h 36"/>
              <a:gd name="T18" fmla="*/ 19 w 30"/>
              <a:gd name="T19" fmla="*/ 0 h 36"/>
              <a:gd name="T20" fmla="*/ 23 w 30"/>
              <a:gd name="T21"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36">
                <a:moveTo>
                  <a:pt x="23" y="9"/>
                </a:moveTo>
                <a:cubicBezTo>
                  <a:pt x="24" y="14"/>
                  <a:pt x="30" y="17"/>
                  <a:pt x="30" y="18"/>
                </a:cubicBezTo>
                <a:cubicBezTo>
                  <a:pt x="30" y="20"/>
                  <a:pt x="24" y="26"/>
                  <a:pt x="22" y="28"/>
                </a:cubicBezTo>
                <a:cubicBezTo>
                  <a:pt x="20" y="29"/>
                  <a:pt x="17" y="36"/>
                  <a:pt x="17" y="36"/>
                </a:cubicBezTo>
                <a:cubicBezTo>
                  <a:pt x="15" y="35"/>
                  <a:pt x="13" y="33"/>
                  <a:pt x="10" y="32"/>
                </a:cubicBezTo>
                <a:cubicBezTo>
                  <a:pt x="6" y="30"/>
                  <a:pt x="3" y="30"/>
                  <a:pt x="0" y="29"/>
                </a:cubicBezTo>
                <a:cubicBezTo>
                  <a:pt x="7" y="20"/>
                  <a:pt x="7" y="20"/>
                  <a:pt x="7" y="20"/>
                </a:cubicBezTo>
                <a:cubicBezTo>
                  <a:pt x="7" y="20"/>
                  <a:pt x="8" y="17"/>
                  <a:pt x="8" y="15"/>
                </a:cubicBezTo>
                <a:cubicBezTo>
                  <a:pt x="8" y="12"/>
                  <a:pt x="8" y="9"/>
                  <a:pt x="12" y="4"/>
                </a:cubicBezTo>
                <a:cubicBezTo>
                  <a:pt x="14" y="2"/>
                  <a:pt x="16" y="1"/>
                  <a:pt x="19" y="0"/>
                </a:cubicBezTo>
                <a:lnTo>
                  <a:pt x="23" y="9"/>
                </a:ln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72" name="Freeform 168"/>
          <p:cNvSpPr>
            <a:spLocks/>
          </p:cNvSpPr>
          <p:nvPr>
            <p:custDataLst>
              <p:tags r:id="rId51"/>
            </p:custDataLst>
          </p:nvPr>
        </p:nvSpPr>
        <p:spPr bwMode="gray">
          <a:xfrm>
            <a:off x="2919327" y="3806454"/>
            <a:ext cx="105379" cy="161321"/>
          </a:xfrm>
          <a:custGeom>
            <a:avLst/>
            <a:gdLst>
              <a:gd name="T0" fmla="*/ 27 w 29"/>
              <a:gd name="T1" fmla="*/ 12 h 60"/>
              <a:gd name="T2" fmla="*/ 27 w 29"/>
              <a:gd name="T3" fmla="*/ 33 h 60"/>
              <a:gd name="T4" fmla="*/ 21 w 29"/>
              <a:gd name="T5" fmla="*/ 44 h 60"/>
              <a:gd name="T6" fmla="*/ 13 w 29"/>
              <a:gd name="T7" fmla="*/ 60 h 60"/>
              <a:gd name="T8" fmla="*/ 5 w 29"/>
              <a:gd name="T9" fmla="*/ 54 h 60"/>
              <a:gd name="T10" fmla="*/ 2 w 29"/>
              <a:gd name="T11" fmla="*/ 48 h 60"/>
              <a:gd name="T12" fmla="*/ 7 w 29"/>
              <a:gd name="T13" fmla="*/ 39 h 60"/>
              <a:gd name="T14" fmla="*/ 1 w 29"/>
              <a:gd name="T15" fmla="*/ 29 h 60"/>
              <a:gd name="T16" fmla="*/ 9 w 29"/>
              <a:gd name="T17" fmla="*/ 14 h 60"/>
              <a:gd name="T18" fmla="*/ 18 w 29"/>
              <a:gd name="T19" fmla="*/ 11 h 60"/>
              <a:gd name="T20" fmla="*/ 23 w 29"/>
              <a:gd name="T21" fmla="*/ 0 h 60"/>
              <a:gd name="T22" fmla="*/ 27 w 29"/>
              <a:gd name="T2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0">
                <a:moveTo>
                  <a:pt x="27" y="12"/>
                </a:moveTo>
                <a:cubicBezTo>
                  <a:pt x="28" y="18"/>
                  <a:pt x="29" y="27"/>
                  <a:pt x="27" y="33"/>
                </a:cubicBezTo>
                <a:cubicBezTo>
                  <a:pt x="26" y="39"/>
                  <a:pt x="21" y="42"/>
                  <a:pt x="21" y="44"/>
                </a:cubicBezTo>
                <a:cubicBezTo>
                  <a:pt x="21" y="47"/>
                  <a:pt x="17" y="60"/>
                  <a:pt x="13" y="60"/>
                </a:cubicBezTo>
                <a:cubicBezTo>
                  <a:pt x="9" y="60"/>
                  <a:pt x="7" y="56"/>
                  <a:pt x="5" y="54"/>
                </a:cubicBezTo>
                <a:cubicBezTo>
                  <a:pt x="2" y="51"/>
                  <a:pt x="2" y="48"/>
                  <a:pt x="2" y="48"/>
                </a:cubicBezTo>
                <a:cubicBezTo>
                  <a:pt x="2" y="42"/>
                  <a:pt x="9" y="42"/>
                  <a:pt x="7" y="39"/>
                </a:cubicBezTo>
                <a:cubicBezTo>
                  <a:pt x="5" y="36"/>
                  <a:pt x="0" y="32"/>
                  <a:pt x="1" y="29"/>
                </a:cubicBezTo>
                <a:cubicBezTo>
                  <a:pt x="3" y="26"/>
                  <a:pt x="5" y="15"/>
                  <a:pt x="9" y="14"/>
                </a:cubicBezTo>
                <a:cubicBezTo>
                  <a:pt x="14" y="12"/>
                  <a:pt x="17" y="14"/>
                  <a:pt x="18" y="11"/>
                </a:cubicBezTo>
                <a:cubicBezTo>
                  <a:pt x="19" y="8"/>
                  <a:pt x="17" y="1"/>
                  <a:pt x="23" y="0"/>
                </a:cubicBezTo>
                <a:cubicBezTo>
                  <a:pt x="28" y="0"/>
                  <a:pt x="27" y="5"/>
                  <a:pt x="27" y="12"/>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73" name="Freeform 169"/>
          <p:cNvSpPr>
            <a:spLocks/>
          </p:cNvSpPr>
          <p:nvPr>
            <p:custDataLst>
              <p:tags r:id="rId52"/>
            </p:custDataLst>
          </p:nvPr>
        </p:nvSpPr>
        <p:spPr bwMode="gray">
          <a:xfrm>
            <a:off x="1860734" y="2937803"/>
            <a:ext cx="1149601" cy="845606"/>
          </a:xfrm>
          <a:custGeom>
            <a:avLst/>
            <a:gdLst>
              <a:gd name="T0" fmla="*/ 254 w 318"/>
              <a:gd name="T1" fmla="*/ 181 h 316"/>
              <a:gd name="T2" fmla="*/ 268 w 318"/>
              <a:gd name="T3" fmla="*/ 191 h 316"/>
              <a:gd name="T4" fmla="*/ 276 w 318"/>
              <a:gd name="T5" fmla="*/ 209 h 316"/>
              <a:gd name="T6" fmla="*/ 267 w 318"/>
              <a:gd name="T7" fmla="*/ 215 h 316"/>
              <a:gd name="T8" fmla="*/ 262 w 318"/>
              <a:gd name="T9" fmla="*/ 241 h 316"/>
              <a:gd name="T10" fmla="*/ 281 w 318"/>
              <a:gd name="T11" fmla="*/ 277 h 316"/>
              <a:gd name="T12" fmla="*/ 271 w 318"/>
              <a:gd name="T13" fmla="*/ 292 h 316"/>
              <a:gd name="T14" fmla="*/ 247 w 318"/>
              <a:gd name="T15" fmla="*/ 309 h 316"/>
              <a:gd name="T16" fmla="*/ 213 w 318"/>
              <a:gd name="T17" fmla="*/ 302 h 316"/>
              <a:gd name="T18" fmla="*/ 194 w 318"/>
              <a:gd name="T19" fmla="*/ 293 h 316"/>
              <a:gd name="T20" fmla="*/ 176 w 318"/>
              <a:gd name="T21" fmla="*/ 285 h 316"/>
              <a:gd name="T22" fmla="*/ 147 w 318"/>
              <a:gd name="T23" fmla="*/ 311 h 316"/>
              <a:gd name="T24" fmla="*/ 132 w 318"/>
              <a:gd name="T25" fmla="*/ 315 h 316"/>
              <a:gd name="T26" fmla="*/ 91 w 318"/>
              <a:gd name="T27" fmla="*/ 286 h 316"/>
              <a:gd name="T28" fmla="*/ 62 w 318"/>
              <a:gd name="T29" fmla="*/ 284 h 316"/>
              <a:gd name="T30" fmla="*/ 30 w 318"/>
              <a:gd name="T31" fmla="*/ 250 h 316"/>
              <a:gd name="T32" fmla="*/ 52 w 318"/>
              <a:gd name="T33" fmla="*/ 211 h 316"/>
              <a:gd name="T34" fmla="*/ 70 w 318"/>
              <a:gd name="T35" fmla="*/ 189 h 316"/>
              <a:gd name="T36" fmla="*/ 75 w 318"/>
              <a:gd name="T37" fmla="*/ 187 h 316"/>
              <a:gd name="T38" fmla="*/ 65 w 318"/>
              <a:gd name="T39" fmla="*/ 167 h 316"/>
              <a:gd name="T40" fmla="*/ 72 w 318"/>
              <a:gd name="T41" fmla="*/ 164 h 316"/>
              <a:gd name="T42" fmla="*/ 58 w 318"/>
              <a:gd name="T43" fmla="*/ 139 h 316"/>
              <a:gd name="T44" fmla="*/ 59 w 318"/>
              <a:gd name="T45" fmla="*/ 117 h 316"/>
              <a:gd name="T46" fmla="*/ 49 w 318"/>
              <a:gd name="T47" fmla="*/ 101 h 316"/>
              <a:gd name="T48" fmla="*/ 11 w 318"/>
              <a:gd name="T49" fmla="*/ 74 h 316"/>
              <a:gd name="T50" fmla="*/ 1 w 318"/>
              <a:gd name="T51" fmla="*/ 59 h 316"/>
              <a:gd name="T52" fmla="*/ 14 w 318"/>
              <a:gd name="T53" fmla="*/ 52 h 316"/>
              <a:gd name="T54" fmla="*/ 13 w 318"/>
              <a:gd name="T55" fmla="*/ 41 h 316"/>
              <a:gd name="T56" fmla="*/ 37 w 318"/>
              <a:gd name="T57" fmla="*/ 47 h 316"/>
              <a:gd name="T58" fmla="*/ 53 w 318"/>
              <a:gd name="T59" fmla="*/ 43 h 316"/>
              <a:gd name="T60" fmla="*/ 72 w 318"/>
              <a:gd name="T61" fmla="*/ 58 h 316"/>
              <a:gd name="T62" fmla="*/ 89 w 318"/>
              <a:gd name="T63" fmla="*/ 53 h 316"/>
              <a:gd name="T64" fmla="*/ 86 w 318"/>
              <a:gd name="T65" fmla="*/ 33 h 316"/>
              <a:gd name="T66" fmla="*/ 91 w 318"/>
              <a:gd name="T67" fmla="*/ 20 h 316"/>
              <a:gd name="T68" fmla="*/ 105 w 318"/>
              <a:gd name="T69" fmla="*/ 27 h 316"/>
              <a:gd name="T70" fmla="*/ 117 w 318"/>
              <a:gd name="T71" fmla="*/ 43 h 316"/>
              <a:gd name="T72" fmla="*/ 138 w 318"/>
              <a:gd name="T73" fmla="*/ 47 h 316"/>
              <a:gd name="T74" fmla="*/ 139 w 318"/>
              <a:gd name="T75" fmla="*/ 36 h 316"/>
              <a:gd name="T76" fmla="*/ 165 w 318"/>
              <a:gd name="T77" fmla="*/ 32 h 316"/>
              <a:gd name="T78" fmla="*/ 181 w 318"/>
              <a:gd name="T79" fmla="*/ 2 h 316"/>
              <a:gd name="T80" fmla="*/ 204 w 318"/>
              <a:gd name="T81" fmla="*/ 0 h 316"/>
              <a:gd name="T82" fmla="*/ 224 w 318"/>
              <a:gd name="T83" fmla="*/ 33 h 316"/>
              <a:gd name="T84" fmla="*/ 246 w 318"/>
              <a:gd name="T85" fmla="*/ 53 h 316"/>
              <a:gd name="T86" fmla="*/ 260 w 318"/>
              <a:gd name="T87" fmla="*/ 77 h 316"/>
              <a:gd name="T88" fmla="*/ 277 w 318"/>
              <a:gd name="T89" fmla="*/ 84 h 316"/>
              <a:gd name="T90" fmla="*/ 316 w 318"/>
              <a:gd name="T91" fmla="*/ 106 h 316"/>
              <a:gd name="T92" fmla="*/ 278 w 318"/>
              <a:gd name="T93" fmla="*/ 154 h 316"/>
              <a:gd name="T94" fmla="*/ 252 w 318"/>
              <a:gd name="T95" fmla="*/ 18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316">
                <a:moveTo>
                  <a:pt x="252" y="181"/>
                </a:moveTo>
                <a:cubicBezTo>
                  <a:pt x="253" y="181"/>
                  <a:pt x="257" y="177"/>
                  <a:pt x="254" y="181"/>
                </a:cubicBezTo>
                <a:cubicBezTo>
                  <a:pt x="250" y="185"/>
                  <a:pt x="248" y="189"/>
                  <a:pt x="252" y="193"/>
                </a:cubicBezTo>
                <a:cubicBezTo>
                  <a:pt x="256" y="198"/>
                  <a:pt x="266" y="189"/>
                  <a:pt x="268" y="191"/>
                </a:cubicBezTo>
                <a:cubicBezTo>
                  <a:pt x="271" y="192"/>
                  <a:pt x="272" y="201"/>
                  <a:pt x="275" y="207"/>
                </a:cubicBezTo>
                <a:cubicBezTo>
                  <a:pt x="275" y="208"/>
                  <a:pt x="276" y="208"/>
                  <a:pt x="276" y="209"/>
                </a:cubicBezTo>
                <a:cubicBezTo>
                  <a:pt x="276" y="209"/>
                  <a:pt x="276" y="209"/>
                  <a:pt x="276" y="209"/>
                </a:cubicBezTo>
                <a:cubicBezTo>
                  <a:pt x="276" y="213"/>
                  <a:pt x="268" y="212"/>
                  <a:pt x="267" y="215"/>
                </a:cubicBezTo>
                <a:cubicBezTo>
                  <a:pt x="266" y="217"/>
                  <a:pt x="274" y="227"/>
                  <a:pt x="274" y="230"/>
                </a:cubicBezTo>
                <a:cubicBezTo>
                  <a:pt x="275" y="233"/>
                  <a:pt x="265" y="237"/>
                  <a:pt x="262" y="241"/>
                </a:cubicBezTo>
                <a:cubicBezTo>
                  <a:pt x="260" y="245"/>
                  <a:pt x="262" y="258"/>
                  <a:pt x="262" y="266"/>
                </a:cubicBezTo>
                <a:cubicBezTo>
                  <a:pt x="263" y="274"/>
                  <a:pt x="276" y="273"/>
                  <a:pt x="281" y="277"/>
                </a:cubicBezTo>
                <a:cubicBezTo>
                  <a:pt x="286" y="280"/>
                  <a:pt x="277" y="285"/>
                  <a:pt x="273" y="288"/>
                </a:cubicBezTo>
                <a:cubicBezTo>
                  <a:pt x="272" y="289"/>
                  <a:pt x="271" y="290"/>
                  <a:pt x="271" y="292"/>
                </a:cubicBezTo>
                <a:cubicBezTo>
                  <a:pt x="266" y="294"/>
                  <a:pt x="256" y="299"/>
                  <a:pt x="253" y="301"/>
                </a:cubicBezTo>
                <a:cubicBezTo>
                  <a:pt x="249" y="303"/>
                  <a:pt x="249" y="306"/>
                  <a:pt x="247" y="309"/>
                </a:cubicBezTo>
                <a:cubicBezTo>
                  <a:pt x="244" y="311"/>
                  <a:pt x="235" y="311"/>
                  <a:pt x="232" y="311"/>
                </a:cubicBezTo>
                <a:cubicBezTo>
                  <a:pt x="229" y="311"/>
                  <a:pt x="215" y="304"/>
                  <a:pt x="213" y="302"/>
                </a:cubicBezTo>
                <a:cubicBezTo>
                  <a:pt x="211" y="300"/>
                  <a:pt x="217" y="295"/>
                  <a:pt x="211" y="295"/>
                </a:cubicBezTo>
                <a:cubicBezTo>
                  <a:pt x="205" y="295"/>
                  <a:pt x="198" y="293"/>
                  <a:pt x="194" y="293"/>
                </a:cubicBezTo>
                <a:cubicBezTo>
                  <a:pt x="188" y="294"/>
                  <a:pt x="196" y="291"/>
                  <a:pt x="192" y="288"/>
                </a:cubicBezTo>
                <a:cubicBezTo>
                  <a:pt x="190" y="286"/>
                  <a:pt x="184" y="283"/>
                  <a:pt x="176" y="285"/>
                </a:cubicBezTo>
                <a:cubicBezTo>
                  <a:pt x="169" y="288"/>
                  <a:pt x="165" y="286"/>
                  <a:pt x="157" y="291"/>
                </a:cubicBezTo>
                <a:cubicBezTo>
                  <a:pt x="147" y="296"/>
                  <a:pt x="147" y="307"/>
                  <a:pt x="147" y="311"/>
                </a:cubicBezTo>
                <a:cubicBezTo>
                  <a:pt x="148" y="313"/>
                  <a:pt x="147" y="315"/>
                  <a:pt x="147" y="316"/>
                </a:cubicBezTo>
                <a:cubicBezTo>
                  <a:pt x="140" y="316"/>
                  <a:pt x="134" y="316"/>
                  <a:pt x="132" y="315"/>
                </a:cubicBezTo>
                <a:cubicBezTo>
                  <a:pt x="128" y="315"/>
                  <a:pt x="116" y="308"/>
                  <a:pt x="110" y="303"/>
                </a:cubicBezTo>
                <a:cubicBezTo>
                  <a:pt x="105" y="297"/>
                  <a:pt x="94" y="288"/>
                  <a:pt x="91" y="286"/>
                </a:cubicBezTo>
                <a:cubicBezTo>
                  <a:pt x="88" y="284"/>
                  <a:pt x="85" y="293"/>
                  <a:pt x="80" y="292"/>
                </a:cubicBezTo>
                <a:cubicBezTo>
                  <a:pt x="74" y="291"/>
                  <a:pt x="70" y="288"/>
                  <a:pt x="62" y="284"/>
                </a:cubicBezTo>
                <a:cubicBezTo>
                  <a:pt x="54" y="280"/>
                  <a:pt x="36" y="261"/>
                  <a:pt x="34" y="259"/>
                </a:cubicBezTo>
                <a:cubicBezTo>
                  <a:pt x="34" y="258"/>
                  <a:pt x="32" y="254"/>
                  <a:pt x="30" y="250"/>
                </a:cubicBezTo>
                <a:cubicBezTo>
                  <a:pt x="31" y="250"/>
                  <a:pt x="31" y="250"/>
                  <a:pt x="31" y="250"/>
                </a:cubicBezTo>
                <a:cubicBezTo>
                  <a:pt x="36" y="248"/>
                  <a:pt x="50" y="220"/>
                  <a:pt x="52" y="211"/>
                </a:cubicBezTo>
                <a:cubicBezTo>
                  <a:pt x="54" y="203"/>
                  <a:pt x="61" y="179"/>
                  <a:pt x="62" y="179"/>
                </a:cubicBezTo>
                <a:cubicBezTo>
                  <a:pt x="63" y="178"/>
                  <a:pt x="70" y="187"/>
                  <a:pt x="70" y="189"/>
                </a:cubicBezTo>
                <a:cubicBezTo>
                  <a:pt x="70" y="191"/>
                  <a:pt x="70" y="195"/>
                  <a:pt x="73" y="195"/>
                </a:cubicBezTo>
                <a:cubicBezTo>
                  <a:pt x="75" y="195"/>
                  <a:pt x="75" y="191"/>
                  <a:pt x="75" y="187"/>
                </a:cubicBezTo>
                <a:cubicBezTo>
                  <a:pt x="75" y="184"/>
                  <a:pt x="75" y="180"/>
                  <a:pt x="71" y="177"/>
                </a:cubicBezTo>
                <a:cubicBezTo>
                  <a:pt x="69" y="174"/>
                  <a:pt x="66" y="169"/>
                  <a:pt x="65" y="167"/>
                </a:cubicBezTo>
                <a:cubicBezTo>
                  <a:pt x="62" y="165"/>
                  <a:pt x="61" y="162"/>
                  <a:pt x="63" y="160"/>
                </a:cubicBezTo>
                <a:cubicBezTo>
                  <a:pt x="65" y="158"/>
                  <a:pt x="71" y="166"/>
                  <a:pt x="72" y="164"/>
                </a:cubicBezTo>
                <a:cubicBezTo>
                  <a:pt x="73" y="162"/>
                  <a:pt x="74" y="157"/>
                  <a:pt x="70" y="151"/>
                </a:cubicBezTo>
                <a:cubicBezTo>
                  <a:pt x="66" y="145"/>
                  <a:pt x="59" y="144"/>
                  <a:pt x="58" y="139"/>
                </a:cubicBezTo>
                <a:cubicBezTo>
                  <a:pt x="57" y="134"/>
                  <a:pt x="52" y="129"/>
                  <a:pt x="52" y="125"/>
                </a:cubicBezTo>
                <a:cubicBezTo>
                  <a:pt x="51" y="121"/>
                  <a:pt x="59" y="121"/>
                  <a:pt x="59" y="117"/>
                </a:cubicBezTo>
                <a:cubicBezTo>
                  <a:pt x="58" y="113"/>
                  <a:pt x="60" y="111"/>
                  <a:pt x="55" y="108"/>
                </a:cubicBezTo>
                <a:cubicBezTo>
                  <a:pt x="51" y="105"/>
                  <a:pt x="49" y="104"/>
                  <a:pt x="49" y="101"/>
                </a:cubicBezTo>
                <a:cubicBezTo>
                  <a:pt x="50" y="92"/>
                  <a:pt x="28" y="77"/>
                  <a:pt x="21" y="74"/>
                </a:cubicBezTo>
                <a:cubicBezTo>
                  <a:pt x="18" y="73"/>
                  <a:pt x="13" y="74"/>
                  <a:pt x="11" y="74"/>
                </a:cubicBezTo>
                <a:cubicBezTo>
                  <a:pt x="9" y="73"/>
                  <a:pt x="13" y="66"/>
                  <a:pt x="10" y="65"/>
                </a:cubicBezTo>
                <a:cubicBezTo>
                  <a:pt x="7" y="63"/>
                  <a:pt x="0" y="64"/>
                  <a:pt x="1" y="59"/>
                </a:cubicBezTo>
                <a:cubicBezTo>
                  <a:pt x="1" y="56"/>
                  <a:pt x="15" y="60"/>
                  <a:pt x="15" y="57"/>
                </a:cubicBezTo>
                <a:cubicBezTo>
                  <a:pt x="15" y="53"/>
                  <a:pt x="15" y="52"/>
                  <a:pt x="14" y="52"/>
                </a:cubicBezTo>
                <a:cubicBezTo>
                  <a:pt x="13" y="51"/>
                  <a:pt x="7" y="52"/>
                  <a:pt x="7" y="48"/>
                </a:cubicBezTo>
                <a:cubicBezTo>
                  <a:pt x="7" y="44"/>
                  <a:pt x="9" y="42"/>
                  <a:pt x="13" y="41"/>
                </a:cubicBezTo>
                <a:cubicBezTo>
                  <a:pt x="17" y="40"/>
                  <a:pt x="27" y="41"/>
                  <a:pt x="29" y="42"/>
                </a:cubicBezTo>
                <a:cubicBezTo>
                  <a:pt x="31" y="43"/>
                  <a:pt x="33" y="47"/>
                  <a:pt x="37" y="47"/>
                </a:cubicBezTo>
                <a:cubicBezTo>
                  <a:pt x="41" y="47"/>
                  <a:pt x="39" y="42"/>
                  <a:pt x="41" y="41"/>
                </a:cubicBezTo>
                <a:cubicBezTo>
                  <a:pt x="43" y="41"/>
                  <a:pt x="49" y="41"/>
                  <a:pt x="53" y="43"/>
                </a:cubicBezTo>
                <a:cubicBezTo>
                  <a:pt x="55" y="45"/>
                  <a:pt x="57" y="59"/>
                  <a:pt x="59" y="59"/>
                </a:cubicBezTo>
                <a:cubicBezTo>
                  <a:pt x="61" y="59"/>
                  <a:pt x="70" y="58"/>
                  <a:pt x="72" y="58"/>
                </a:cubicBezTo>
                <a:cubicBezTo>
                  <a:pt x="74" y="58"/>
                  <a:pt x="91" y="66"/>
                  <a:pt x="91" y="64"/>
                </a:cubicBezTo>
                <a:cubicBezTo>
                  <a:pt x="92" y="62"/>
                  <a:pt x="88" y="59"/>
                  <a:pt x="89" y="53"/>
                </a:cubicBezTo>
                <a:cubicBezTo>
                  <a:pt x="91" y="47"/>
                  <a:pt x="91" y="46"/>
                  <a:pt x="91" y="43"/>
                </a:cubicBezTo>
                <a:cubicBezTo>
                  <a:pt x="90" y="39"/>
                  <a:pt x="86" y="38"/>
                  <a:pt x="86" y="33"/>
                </a:cubicBezTo>
                <a:cubicBezTo>
                  <a:pt x="87" y="27"/>
                  <a:pt x="89" y="27"/>
                  <a:pt x="87" y="25"/>
                </a:cubicBezTo>
                <a:cubicBezTo>
                  <a:pt x="85" y="22"/>
                  <a:pt x="89" y="21"/>
                  <a:pt x="91" y="20"/>
                </a:cubicBezTo>
                <a:cubicBezTo>
                  <a:pt x="91" y="19"/>
                  <a:pt x="94" y="25"/>
                  <a:pt x="98" y="25"/>
                </a:cubicBezTo>
                <a:cubicBezTo>
                  <a:pt x="102" y="25"/>
                  <a:pt x="105" y="24"/>
                  <a:pt x="105" y="27"/>
                </a:cubicBezTo>
                <a:cubicBezTo>
                  <a:pt x="105" y="31"/>
                  <a:pt x="101" y="38"/>
                  <a:pt x="104" y="39"/>
                </a:cubicBezTo>
                <a:cubicBezTo>
                  <a:pt x="107" y="40"/>
                  <a:pt x="114" y="42"/>
                  <a:pt x="117" y="43"/>
                </a:cubicBezTo>
                <a:cubicBezTo>
                  <a:pt x="119" y="45"/>
                  <a:pt x="123" y="49"/>
                  <a:pt x="127" y="49"/>
                </a:cubicBezTo>
                <a:cubicBezTo>
                  <a:pt x="130" y="49"/>
                  <a:pt x="137" y="49"/>
                  <a:pt x="138" y="47"/>
                </a:cubicBezTo>
                <a:cubicBezTo>
                  <a:pt x="139" y="45"/>
                  <a:pt x="132" y="43"/>
                  <a:pt x="133" y="41"/>
                </a:cubicBezTo>
                <a:cubicBezTo>
                  <a:pt x="135" y="38"/>
                  <a:pt x="136" y="37"/>
                  <a:pt x="139" y="36"/>
                </a:cubicBezTo>
                <a:cubicBezTo>
                  <a:pt x="142" y="35"/>
                  <a:pt x="147" y="33"/>
                  <a:pt x="150" y="33"/>
                </a:cubicBezTo>
                <a:cubicBezTo>
                  <a:pt x="153" y="33"/>
                  <a:pt x="161" y="34"/>
                  <a:pt x="165" y="32"/>
                </a:cubicBezTo>
                <a:cubicBezTo>
                  <a:pt x="169" y="30"/>
                  <a:pt x="175" y="25"/>
                  <a:pt x="176" y="17"/>
                </a:cubicBezTo>
                <a:cubicBezTo>
                  <a:pt x="177" y="10"/>
                  <a:pt x="179" y="4"/>
                  <a:pt x="181" y="2"/>
                </a:cubicBezTo>
                <a:cubicBezTo>
                  <a:pt x="182" y="0"/>
                  <a:pt x="186" y="0"/>
                  <a:pt x="189" y="0"/>
                </a:cubicBezTo>
                <a:cubicBezTo>
                  <a:pt x="192" y="0"/>
                  <a:pt x="199" y="0"/>
                  <a:pt x="204" y="0"/>
                </a:cubicBezTo>
                <a:cubicBezTo>
                  <a:pt x="206" y="9"/>
                  <a:pt x="210" y="18"/>
                  <a:pt x="213" y="19"/>
                </a:cubicBezTo>
                <a:cubicBezTo>
                  <a:pt x="223" y="23"/>
                  <a:pt x="222" y="27"/>
                  <a:pt x="224" y="33"/>
                </a:cubicBezTo>
                <a:cubicBezTo>
                  <a:pt x="227" y="39"/>
                  <a:pt x="234" y="47"/>
                  <a:pt x="234" y="47"/>
                </a:cubicBezTo>
                <a:cubicBezTo>
                  <a:pt x="234" y="47"/>
                  <a:pt x="250" y="48"/>
                  <a:pt x="246" y="53"/>
                </a:cubicBezTo>
                <a:cubicBezTo>
                  <a:pt x="243" y="59"/>
                  <a:pt x="248" y="64"/>
                  <a:pt x="252" y="71"/>
                </a:cubicBezTo>
                <a:cubicBezTo>
                  <a:pt x="255" y="75"/>
                  <a:pt x="257" y="76"/>
                  <a:pt x="260" y="77"/>
                </a:cubicBezTo>
                <a:cubicBezTo>
                  <a:pt x="263" y="78"/>
                  <a:pt x="266" y="78"/>
                  <a:pt x="270" y="80"/>
                </a:cubicBezTo>
                <a:cubicBezTo>
                  <a:pt x="273" y="81"/>
                  <a:pt x="275" y="83"/>
                  <a:pt x="277" y="84"/>
                </a:cubicBezTo>
                <a:cubicBezTo>
                  <a:pt x="280" y="87"/>
                  <a:pt x="283" y="90"/>
                  <a:pt x="288" y="93"/>
                </a:cubicBezTo>
                <a:cubicBezTo>
                  <a:pt x="295" y="99"/>
                  <a:pt x="318" y="104"/>
                  <a:pt x="316" y="106"/>
                </a:cubicBezTo>
                <a:cubicBezTo>
                  <a:pt x="314" y="108"/>
                  <a:pt x="296" y="143"/>
                  <a:pt x="294" y="149"/>
                </a:cubicBezTo>
                <a:cubicBezTo>
                  <a:pt x="292" y="154"/>
                  <a:pt x="284" y="152"/>
                  <a:pt x="278" y="154"/>
                </a:cubicBezTo>
                <a:cubicBezTo>
                  <a:pt x="273" y="156"/>
                  <a:pt x="260" y="173"/>
                  <a:pt x="254" y="179"/>
                </a:cubicBezTo>
                <a:cubicBezTo>
                  <a:pt x="253" y="180"/>
                  <a:pt x="253" y="181"/>
                  <a:pt x="252" y="181"/>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74" name="Freeform 170"/>
          <p:cNvSpPr>
            <a:spLocks/>
          </p:cNvSpPr>
          <p:nvPr>
            <p:custDataLst>
              <p:tags r:id="rId53"/>
            </p:custDataLst>
          </p:nvPr>
        </p:nvSpPr>
        <p:spPr bwMode="gray">
          <a:xfrm>
            <a:off x="2598396" y="2898803"/>
            <a:ext cx="308955" cy="244640"/>
          </a:xfrm>
          <a:custGeom>
            <a:avLst/>
            <a:gdLst>
              <a:gd name="T0" fmla="*/ 32 w 85"/>
              <a:gd name="T1" fmla="*/ 11 h 91"/>
              <a:gd name="T2" fmla="*/ 26 w 85"/>
              <a:gd name="T3" fmla="*/ 2 h 91"/>
              <a:gd name="T4" fmla="*/ 28 w 85"/>
              <a:gd name="T5" fmla="*/ 0 h 91"/>
              <a:gd name="T6" fmla="*/ 34 w 85"/>
              <a:gd name="T7" fmla="*/ 9 h 91"/>
              <a:gd name="T8" fmla="*/ 51 w 85"/>
              <a:gd name="T9" fmla="*/ 12 h 91"/>
              <a:gd name="T10" fmla="*/ 62 w 85"/>
              <a:gd name="T11" fmla="*/ 18 h 91"/>
              <a:gd name="T12" fmla="*/ 68 w 85"/>
              <a:gd name="T13" fmla="*/ 23 h 91"/>
              <a:gd name="T14" fmla="*/ 65 w 85"/>
              <a:gd name="T15" fmla="*/ 35 h 91"/>
              <a:gd name="T16" fmla="*/ 69 w 85"/>
              <a:gd name="T17" fmla="*/ 41 h 91"/>
              <a:gd name="T18" fmla="*/ 79 w 85"/>
              <a:gd name="T19" fmla="*/ 41 h 91"/>
              <a:gd name="T20" fmla="*/ 82 w 85"/>
              <a:gd name="T21" fmla="*/ 58 h 91"/>
              <a:gd name="T22" fmla="*/ 75 w 85"/>
              <a:gd name="T23" fmla="*/ 62 h 91"/>
              <a:gd name="T24" fmla="*/ 68 w 85"/>
              <a:gd name="T25" fmla="*/ 66 h 91"/>
              <a:gd name="T26" fmla="*/ 64 w 85"/>
              <a:gd name="T27" fmla="*/ 77 h 91"/>
              <a:gd name="T28" fmla="*/ 63 w 85"/>
              <a:gd name="T29" fmla="*/ 82 h 91"/>
              <a:gd name="T30" fmla="*/ 56 w 85"/>
              <a:gd name="T31" fmla="*/ 91 h 91"/>
              <a:gd name="T32" fmla="*/ 48 w 85"/>
              <a:gd name="T33" fmla="*/ 85 h 91"/>
              <a:gd name="T34" fmla="*/ 42 w 85"/>
              <a:gd name="T35" fmla="*/ 67 h 91"/>
              <a:gd name="T36" fmla="*/ 30 w 85"/>
              <a:gd name="T37" fmla="*/ 61 h 91"/>
              <a:gd name="T38" fmla="*/ 20 w 85"/>
              <a:gd name="T39" fmla="*/ 47 h 91"/>
              <a:gd name="T40" fmla="*/ 9 w 85"/>
              <a:gd name="T41" fmla="*/ 33 h 91"/>
              <a:gd name="T42" fmla="*/ 0 w 85"/>
              <a:gd name="T43" fmla="*/ 14 h 91"/>
              <a:gd name="T44" fmla="*/ 3 w 85"/>
              <a:gd name="T45" fmla="*/ 13 h 91"/>
              <a:gd name="T46" fmla="*/ 16 w 85"/>
              <a:gd name="T47" fmla="*/ 8 h 91"/>
              <a:gd name="T48" fmla="*/ 23 w 85"/>
              <a:gd name="T49" fmla="*/ 10 h 91"/>
              <a:gd name="T50" fmla="*/ 32 w 85"/>
              <a:gd name="T51" fmla="*/ 1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5" h="91">
                <a:moveTo>
                  <a:pt x="32" y="11"/>
                </a:moveTo>
                <a:cubicBezTo>
                  <a:pt x="33" y="10"/>
                  <a:pt x="26" y="3"/>
                  <a:pt x="26" y="2"/>
                </a:cubicBezTo>
                <a:cubicBezTo>
                  <a:pt x="26" y="1"/>
                  <a:pt x="27" y="1"/>
                  <a:pt x="28" y="0"/>
                </a:cubicBezTo>
                <a:cubicBezTo>
                  <a:pt x="30" y="4"/>
                  <a:pt x="32" y="8"/>
                  <a:pt x="34" y="9"/>
                </a:cubicBezTo>
                <a:cubicBezTo>
                  <a:pt x="38" y="12"/>
                  <a:pt x="48" y="12"/>
                  <a:pt x="51" y="12"/>
                </a:cubicBezTo>
                <a:cubicBezTo>
                  <a:pt x="54" y="12"/>
                  <a:pt x="57" y="15"/>
                  <a:pt x="62" y="18"/>
                </a:cubicBezTo>
                <a:cubicBezTo>
                  <a:pt x="67" y="21"/>
                  <a:pt x="67" y="20"/>
                  <a:pt x="68" y="23"/>
                </a:cubicBezTo>
                <a:cubicBezTo>
                  <a:pt x="68" y="26"/>
                  <a:pt x="67" y="31"/>
                  <a:pt x="65" y="35"/>
                </a:cubicBezTo>
                <a:cubicBezTo>
                  <a:pt x="63" y="39"/>
                  <a:pt x="67" y="39"/>
                  <a:pt x="69" y="41"/>
                </a:cubicBezTo>
                <a:cubicBezTo>
                  <a:pt x="79" y="41"/>
                  <a:pt x="79" y="41"/>
                  <a:pt x="79" y="41"/>
                </a:cubicBezTo>
                <a:cubicBezTo>
                  <a:pt x="81" y="47"/>
                  <a:pt x="85" y="56"/>
                  <a:pt x="82" y="58"/>
                </a:cubicBezTo>
                <a:cubicBezTo>
                  <a:pt x="80" y="59"/>
                  <a:pt x="77" y="60"/>
                  <a:pt x="75" y="62"/>
                </a:cubicBezTo>
                <a:cubicBezTo>
                  <a:pt x="72" y="63"/>
                  <a:pt x="70" y="64"/>
                  <a:pt x="68" y="66"/>
                </a:cubicBezTo>
                <a:cubicBezTo>
                  <a:pt x="64" y="71"/>
                  <a:pt x="64" y="74"/>
                  <a:pt x="64" y="77"/>
                </a:cubicBezTo>
                <a:cubicBezTo>
                  <a:pt x="64" y="79"/>
                  <a:pt x="63" y="82"/>
                  <a:pt x="63" y="82"/>
                </a:cubicBezTo>
                <a:cubicBezTo>
                  <a:pt x="56" y="91"/>
                  <a:pt x="56" y="91"/>
                  <a:pt x="56" y="91"/>
                </a:cubicBezTo>
                <a:cubicBezTo>
                  <a:pt x="53" y="90"/>
                  <a:pt x="51" y="89"/>
                  <a:pt x="48" y="85"/>
                </a:cubicBezTo>
                <a:cubicBezTo>
                  <a:pt x="44" y="78"/>
                  <a:pt x="39" y="73"/>
                  <a:pt x="42" y="67"/>
                </a:cubicBezTo>
                <a:cubicBezTo>
                  <a:pt x="46" y="62"/>
                  <a:pt x="30" y="61"/>
                  <a:pt x="30" y="61"/>
                </a:cubicBezTo>
                <a:cubicBezTo>
                  <a:pt x="30" y="61"/>
                  <a:pt x="23" y="53"/>
                  <a:pt x="20" y="47"/>
                </a:cubicBezTo>
                <a:cubicBezTo>
                  <a:pt x="18" y="41"/>
                  <a:pt x="19" y="37"/>
                  <a:pt x="9" y="33"/>
                </a:cubicBezTo>
                <a:cubicBezTo>
                  <a:pt x="6" y="32"/>
                  <a:pt x="2" y="23"/>
                  <a:pt x="0" y="14"/>
                </a:cubicBezTo>
                <a:cubicBezTo>
                  <a:pt x="1" y="13"/>
                  <a:pt x="3" y="13"/>
                  <a:pt x="3" y="13"/>
                </a:cubicBezTo>
                <a:cubicBezTo>
                  <a:pt x="8" y="11"/>
                  <a:pt x="13" y="9"/>
                  <a:pt x="16" y="8"/>
                </a:cubicBezTo>
                <a:cubicBezTo>
                  <a:pt x="19" y="8"/>
                  <a:pt x="22" y="9"/>
                  <a:pt x="23" y="10"/>
                </a:cubicBezTo>
                <a:cubicBezTo>
                  <a:pt x="24" y="11"/>
                  <a:pt x="31" y="13"/>
                  <a:pt x="32" y="11"/>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75" name="Freeform 171"/>
          <p:cNvSpPr>
            <a:spLocks/>
          </p:cNvSpPr>
          <p:nvPr>
            <p:custDataLst>
              <p:tags r:id="rId54"/>
            </p:custDataLst>
          </p:nvPr>
        </p:nvSpPr>
        <p:spPr bwMode="gray">
          <a:xfrm>
            <a:off x="1611654" y="2358112"/>
            <a:ext cx="435891" cy="320868"/>
          </a:xfrm>
          <a:custGeom>
            <a:avLst/>
            <a:gdLst>
              <a:gd name="T0" fmla="*/ 121 w 121"/>
              <a:gd name="T1" fmla="*/ 56 h 120"/>
              <a:gd name="T2" fmla="*/ 113 w 121"/>
              <a:gd name="T3" fmla="*/ 59 h 120"/>
              <a:gd name="T4" fmla="*/ 109 w 121"/>
              <a:gd name="T5" fmla="*/ 94 h 120"/>
              <a:gd name="T6" fmla="*/ 91 w 121"/>
              <a:gd name="T7" fmla="*/ 119 h 120"/>
              <a:gd name="T8" fmla="*/ 65 w 121"/>
              <a:gd name="T9" fmla="*/ 111 h 120"/>
              <a:gd name="T10" fmla="*/ 40 w 121"/>
              <a:gd name="T11" fmla="*/ 119 h 120"/>
              <a:gd name="T12" fmla="*/ 8 w 121"/>
              <a:gd name="T13" fmla="*/ 113 h 120"/>
              <a:gd name="T14" fmla="*/ 18 w 121"/>
              <a:gd name="T15" fmla="*/ 106 h 120"/>
              <a:gd name="T16" fmla="*/ 5 w 121"/>
              <a:gd name="T17" fmla="*/ 98 h 120"/>
              <a:gd name="T18" fmla="*/ 19 w 121"/>
              <a:gd name="T19" fmla="*/ 92 h 120"/>
              <a:gd name="T20" fmla="*/ 12 w 121"/>
              <a:gd name="T21" fmla="*/ 81 h 120"/>
              <a:gd name="T22" fmla="*/ 27 w 121"/>
              <a:gd name="T23" fmla="*/ 79 h 120"/>
              <a:gd name="T24" fmla="*/ 46 w 121"/>
              <a:gd name="T25" fmla="*/ 77 h 120"/>
              <a:gd name="T26" fmla="*/ 22 w 121"/>
              <a:gd name="T27" fmla="*/ 74 h 120"/>
              <a:gd name="T28" fmla="*/ 40 w 121"/>
              <a:gd name="T29" fmla="*/ 64 h 120"/>
              <a:gd name="T30" fmla="*/ 53 w 121"/>
              <a:gd name="T31" fmla="*/ 63 h 120"/>
              <a:gd name="T32" fmla="*/ 38 w 121"/>
              <a:gd name="T33" fmla="*/ 54 h 120"/>
              <a:gd name="T34" fmla="*/ 33 w 121"/>
              <a:gd name="T35" fmla="*/ 38 h 120"/>
              <a:gd name="T36" fmla="*/ 47 w 121"/>
              <a:gd name="T37" fmla="*/ 37 h 120"/>
              <a:gd name="T38" fmla="*/ 42 w 121"/>
              <a:gd name="T39" fmla="*/ 27 h 120"/>
              <a:gd name="T40" fmla="*/ 47 w 121"/>
              <a:gd name="T41" fmla="*/ 14 h 120"/>
              <a:gd name="T42" fmla="*/ 59 w 121"/>
              <a:gd name="T43" fmla="*/ 20 h 120"/>
              <a:gd name="T44" fmla="*/ 66 w 121"/>
              <a:gd name="T45" fmla="*/ 23 h 120"/>
              <a:gd name="T46" fmla="*/ 78 w 121"/>
              <a:gd name="T47" fmla="*/ 26 h 120"/>
              <a:gd name="T48" fmla="*/ 88 w 121"/>
              <a:gd name="T49" fmla="*/ 19 h 120"/>
              <a:gd name="T50" fmla="*/ 85 w 121"/>
              <a:gd name="T51" fmla="*/ 8 h 120"/>
              <a:gd name="T52" fmla="*/ 100 w 121"/>
              <a:gd name="T53" fmla="*/ 0 h 120"/>
              <a:gd name="T54" fmla="*/ 116 w 121"/>
              <a:gd name="T55" fmla="*/ 1 h 120"/>
              <a:gd name="T56" fmla="*/ 112 w 121"/>
              <a:gd name="T57" fmla="*/ 10 h 120"/>
              <a:gd name="T58" fmla="*/ 110 w 121"/>
              <a:gd name="T59" fmla="*/ 14 h 120"/>
              <a:gd name="T60" fmla="*/ 92 w 121"/>
              <a:gd name="T61" fmla="*/ 36 h 120"/>
              <a:gd name="T62" fmla="*/ 111 w 121"/>
              <a:gd name="T63"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1" h="120">
                <a:moveTo>
                  <a:pt x="111" y="40"/>
                </a:moveTo>
                <a:cubicBezTo>
                  <a:pt x="112" y="42"/>
                  <a:pt x="117" y="50"/>
                  <a:pt x="121" y="56"/>
                </a:cubicBezTo>
                <a:cubicBezTo>
                  <a:pt x="118" y="55"/>
                  <a:pt x="116" y="54"/>
                  <a:pt x="114" y="55"/>
                </a:cubicBezTo>
                <a:cubicBezTo>
                  <a:pt x="112" y="57"/>
                  <a:pt x="113" y="56"/>
                  <a:pt x="113" y="59"/>
                </a:cubicBezTo>
                <a:cubicBezTo>
                  <a:pt x="113" y="61"/>
                  <a:pt x="115" y="66"/>
                  <a:pt x="114" y="70"/>
                </a:cubicBezTo>
                <a:cubicBezTo>
                  <a:pt x="113" y="74"/>
                  <a:pt x="109" y="92"/>
                  <a:pt x="109" y="94"/>
                </a:cubicBezTo>
                <a:cubicBezTo>
                  <a:pt x="108" y="96"/>
                  <a:pt x="93" y="112"/>
                  <a:pt x="92" y="114"/>
                </a:cubicBezTo>
                <a:cubicBezTo>
                  <a:pt x="92" y="116"/>
                  <a:pt x="93" y="119"/>
                  <a:pt x="91" y="119"/>
                </a:cubicBezTo>
                <a:cubicBezTo>
                  <a:pt x="90" y="120"/>
                  <a:pt x="86" y="118"/>
                  <a:pt x="83" y="116"/>
                </a:cubicBezTo>
                <a:cubicBezTo>
                  <a:pt x="80" y="115"/>
                  <a:pt x="67" y="110"/>
                  <a:pt x="65" y="111"/>
                </a:cubicBezTo>
                <a:cubicBezTo>
                  <a:pt x="63" y="112"/>
                  <a:pt x="63" y="117"/>
                  <a:pt x="58" y="117"/>
                </a:cubicBezTo>
                <a:cubicBezTo>
                  <a:pt x="53" y="118"/>
                  <a:pt x="45" y="119"/>
                  <a:pt x="40" y="119"/>
                </a:cubicBezTo>
                <a:cubicBezTo>
                  <a:pt x="35" y="119"/>
                  <a:pt x="16" y="118"/>
                  <a:pt x="14" y="117"/>
                </a:cubicBezTo>
                <a:cubicBezTo>
                  <a:pt x="11" y="117"/>
                  <a:pt x="8" y="115"/>
                  <a:pt x="8" y="113"/>
                </a:cubicBezTo>
                <a:cubicBezTo>
                  <a:pt x="9" y="111"/>
                  <a:pt x="16" y="112"/>
                  <a:pt x="18" y="111"/>
                </a:cubicBezTo>
                <a:cubicBezTo>
                  <a:pt x="21" y="110"/>
                  <a:pt x="19" y="106"/>
                  <a:pt x="18" y="106"/>
                </a:cubicBezTo>
                <a:cubicBezTo>
                  <a:pt x="17" y="105"/>
                  <a:pt x="4" y="106"/>
                  <a:pt x="2" y="105"/>
                </a:cubicBezTo>
                <a:cubicBezTo>
                  <a:pt x="0" y="103"/>
                  <a:pt x="5" y="100"/>
                  <a:pt x="5" y="98"/>
                </a:cubicBezTo>
                <a:cubicBezTo>
                  <a:pt x="5" y="96"/>
                  <a:pt x="4" y="92"/>
                  <a:pt x="8" y="92"/>
                </a:cubicBezTo>
                <a:cubicBezTo>
                  <a:pt x="12" y="92"/>
                  <a:pt x="18" y="94"/>
                  <a:pt x="19" y="92"/>
                </a:cubicBezTo>
                <a:cubicBezTo>
                  <a:pt x="21" y="90"/>
                  <a:pt x="4" y="87"/>
                  <a:pt x="3" y="85"/>
                </a:cubicBezTo>
                <a:cubicBezTo>
                  <a:pt x="3" y="82"/>
                  <a:pt x="9" y="81"/>
                  <a:pt x="12" y="81"/>
                </a:cubicBezTo>
                <a:cubicBezTo>
                  <a:pt x="14" y="81"/>
                  <a:pt x="17" y="85"/>
                  <a:pt x="19" y="85"/>
                </a:cubicBezTo>
                <a:cubicBezTo>
                  <a:pt x="20" y="84"/>
                  <a:pt x="25" y="79"/>
                  <a:pt x="27" y="79"/>
                </a:cubicBezTo>
                <a:cubicBezTo>
                  <a:pt x="29" y="79"/>
                  <a:pt x="37" y="81"/>
                  <a:pt x="41" y="81"/>
                </a:cubicBezTo>
                <a:cubicBezTo>
                  <a:pt x="44" y="81"/>
                  <a:pt x="46" y="79"/>
                  <a:pt x="46" y="77"/>
                </a:cubicBezTo>
                <a:cubicBezTo>
                  <a:pt x="46" y="75"/>
                  <a:pt x="45" y="75"/>
                  <a:pt x="43" y="75"/>
                </a:cubicBezTo>
                <a:cubicBezTo>
                  <a:pt x="41" y="75"/>
                  <a:pt x="23" y="75"/>
                  <a:pt x="22" y="74"/>
                </a:cubicBezTo>
                <a:cubicBezTo>
                  <a:pt x="20" y="73"/>
                  <a:pt x="31" y="70"/>
                  <a:pt x="34" y="69"/>
                </a:cubicBezTo>
                <a:cubicBezTo>
                  <a:pt x="37" y="68"/>
                  <a:pt x="37" y="67"/>
                  <a:pt x="40" y="64"/>
                </a:cubicBezTo>
                <a:cubicBezTo>
                  <a:pt x="43" y="61"/>
                  <a:pt x="43" y="61"/>
                  <a:pt x="45" y="62"/>
                </a:cubicBezTo>
                <a:cubicBezTo>
                  <a:pt x="48" y="64"/>
                  <a:pt x="52" y="65"/>
                  <a:pt x="53" y="63"/>
                </a:cubicBezTo>
                <a:cubicBezTo>
                  <a:pt x="54" y="61"/>
                  <a:pt x="54" y="57"/>
                  <a:pt x="51" y="57"/>
                </a:cubicBezTo>
                <a:cubicBezTo>
                  <a:pt x="48" y="56"/>
                  <a:pt x="41" y="56"/>
                  <a:pt x="38" y="54"/>
                </a:cubicBezTo>
                <a:cubicBezTo>
                  <a:pt x="35" y="52"/>
                  <a:pt x="31" y="46"/>
                  <a:pt x="31" y="43"/>
                </a:cubicBezTo>
                <a:cubicBezTo>
                  <a:pt x="30" y="40"/>
                  <a:pt x="31" y="38"/>
                  <a:pt x="33" y="38"/>
                </a:cubicBezTo>
                <a:cubicBezTo>
                  <a:pt x="35" y="37"/>
                  <a:pt x="39" y="35"/>
                  <a:pt x="41" y="35"/>
                </a:cubicBezTo>
                <a:cubicBezTo>
                  <a:pt x="43" y="35"/>
                  <a:pt x="45" y="37"/>
                  <a:pt x="47" y="37"/>
                </a:cubicBezTo>
                <a:cubicBezTo>
                  <a:pt x="49" y="36"/>
                  <a:pt x="50" y="35"/>
                  <a:pt x="50" y="32"/>
                </a:cubicBezTo>
                <a:cubicBezTo>
                  <a:pt x="50" y="30"/>
                  <a:pt x="43" y="29"/>
                  <a:pt x="42" y="27"/>
                </a:cubicBezTo>
                <a:cubicBezTo>
                  <a:pt x="42" y="25"/>
                  <a:pt x="44" y="22"/>
                  <a:pt x="44" y="20"/>
                </a:cubicBezTo>
                <a:cubicBezTo>
                  <a:pt x="44" y="18"/>
                  <a:pt x="44" y="14"/>
                  <a:pt x="47" y="14"/>
                </a:cubicBezTo>
                <a:cubicBezTo>
                  <a:pt x="49" y="14"/>
                  <a:pt x="51" y="14"/>
                  <a:pt x="53" y="15"/>
                </a:cubicBezTo>
                <a:cubicBezTo>
                  <a:pt x="54" y="16"/>
                  <a:pt x="58" y="18"/>
                  <a:pt x="59" y="20"/>
                </a:cubicBezTo>
                <a:cubicBezTo>
                  <a:pt x="61" y="22"/>
                  <a:pt x="58" y="26"/>
                  <a:pt x="62" y="28"/>
                </a:cubicBezTo>
                <a:cubicBezTo>
                  <a:pt x="65" y="29"/>
                  <a:pt x="65" y="23"/>
                  <a:pt x="66" y="23"/>
                </a:cubicBezTo>
                <a:cubicBezTo>
                  <a:pt x="68" y="23"/>
                  <a:pt x="72" y="28"/>
                  <a:pt x="73" y="28"/>
                </a:cubicBezTo>
                <a:cubicBezTo>
                  <a:pt x="74" y="29"/>
                  <a:pt x="77" y="27"/>
                  <a:pt x="78" y="26"/>
                </a:cubicBezTo>
                <a:cubicBezTo>
                  <a:pt x="79" y="25"/>
                  <a:pt x="82" y="22"/>
                  <a:pt x="83" y="22"/>
                </a:cubicBezTo>
                <a:cubicBezTo>
                  <a:pt x="85" y="22"/>
                  <a:pt x="88" y="19"/>
                  <a:pt x="88" y="19"/>
                </a:cubicBezTo>
                <a:cubicBezTo>
                  <a:pt x="88" y="19"/>
                  <a:pt x="75" y="16"/>
                  <a:pt x="75" y="12"/>
                </a:cubicBezTo>
                <a:cubicBezTo>
                  <a:pt x="76" y="8"/>
                  <a:pt x="84" y="8"/>
                  <a:pt x="85" y="8"/>
                </a:cubicBezTo>
                <a:cubicBezTo>
                  <a:pt x="87" y="8"/>
                  <a:pt x="87" y="2"/>
                  <a:pt x="89" y="1"/>
                </a:cubicBezTo>
                <a:cubicBezTo>
                  <a:pt x="90" y="0"/>
                  <a:pt x="97" y="0"/>
                  <a:pt x="100" y="0"/>
                </a:cubicBezTo>
                <a:cubicBezTo>
                  <a:pt x="103" y="0"/>
                  <a:pt x="108" y="0"/>
                  <a:pt x="110" y="0"/>
                </a:cubicBezTo>
                <a:cubicBezTo>
                  <a:pt x="111" y="0"/>
                  <a:pt x="115" y="0"/>
                  <a:pt x="116" y="1"/>
                </a:cubicBezTo>
                <a:cubicBezTo>
                  <a:pt x="117" y="2"/>
                  <a:pt x="119" y="5"/>
                  <a:pt x="119" y="6"/>
                </a:cubicBezTo>
                <a:cubicBezTo>
                  <a:pt x="119" y="7"/>
                  <a:pt x="114" y="9"/>
                  <a:pt x="112" y="10"/>
                </a:cubicBezTo>
                <a:cubicBezTo>
                  <a:pt x="109" y="11"/>
                  <a:pt x="106" y="13"/>
                  <a:pt x="110" y="14"/>
                </a:cubicBezTo>
                <a:cubicBezTo>
                  <a:pt x="110" y="14"/>
                  <a:pt x="110" y="14"/>
                  <a:pt x="110" y="14"/>
                </a:cubicBezTo>
                <a:cubicBezTo>
                  <a:pt x="108" y="17"/>
                  <a:pt x="106" y="22"/>
                  <a:pt x="104" y="23"/>
                </a:cubicBezTo>
                <a:cubicBezTo>
                  <a:pt x="102" y="25"/>
                  <a:pt x="92" y="32"/>
                  <a:pt x="92" y="36"/>
                </a:cubicBezTo>
                <a:cubicBezTo>
                  <a:pt x="92" y="39"/>
                  <a:pt x="96" y="45"/>
                  <a:pt x="98" y="45"/>
                </a:cubicBezTo>
                <a:cubicBezTo>
                  <a:pt x="101" y="45"/>
                  <a:pt x="110" y="38"/>
                  <a:pt x="111" y="4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76" name="Freeform 172"/>
          <p:cNvSpPr>
            <a:spLocks/>
          </p:cNvSpPr>
          <p:nvPr>
            <p:custDataLst>
              <p:tags r:id="rId55"/>
            </p:custDataLst>
          </p:nvPr>
        </p:nvSpPr>
        <p:spPr bwMode="gray">
          <a:xfrm>
            <a:off x="1010510" y="3572452"/>
            <a:ext cx="476605" cy="501690"/>
          </a:xfrm>
          <a:custGeom>
            <a:avLst/>
            <a:gdLst>
              <a:gd name="T0" fmla="*/ 121 w 132"/>
              <a:gd name="T1" fmla="*/ 24 h 188"/>
              <a:gd name="T2" fmla="*/ 127 w 132"/>
              <a:gd name="T3" fmla="*/ 41 h 188"/>
              <a:gd name="T4" fmla="*/ 104 w 132"/>
              <a:gd name="T5" fmla="*/ 56 h 188"/>
              <a:gd name="T6" fmla="*/ 89 w 132"/>
              <a:gd name="T7" fmla="*/ 95 h 188"/>
              <a:gd name="T8" fmla="*/ 71 w 132"/>
              <a:gd name="T9" fmla="*/ 97 h 188"/>
              <a:gd name="T10" fmla="*/ 77 w 132"/>
              <a:gd name="T11" fmla="*/ 121 h 188"/>
              <a:gd name="T12" fmla="*/ 65 w 132"/>
              <a:gd name="T13" fmla="*/ 134 h 188"/>
              <a:gd name="T14" fmla="*/ 69 w 132"/>
              <a:gd name="T15" fmla="*/ 147 h 188"/>
              <a:gd name="T16" fmla="*/ 67 w 132"/>
              <a:gd name="T17" fmla="*/ 156 h 188"/>
              <a:gd name="T18" fmla="*/ 51 w 132"/>
              <a:gd name="T19" fmla="*/ 166 h 188"/>
              <a:gd name="T20" fmla="*/ 44 w 132"/>
              <a:gd name="T21" fmla="*/ 184 h 188"/>
              <a:gd name="T22" fmla="*/ 40 w 132"/>
              <a:gd name="T23" fmla="*/ 184 h 188"/>
              <a:gd name="T24" fmla="*/ 29 w 132"/>
              <a:gd name="T25" fmla="*/ 187 h 188"/>
              <a:gd name="T26" fmla="*/ 18 w 132"/>
              <a:gd name="T27" fmla="*/ 178 h 188"/>
              <a:gd name="T28" fmla="*/ 7 w 132"/>
              <a:gd name="T29" fmla="*/ 174 h 188"/>
              <a:gd name="T30" fmla="*/ 1 w 132"/>
              <a:gd name="T31" fmla="*/ 174 h 188"/>
              <a:gd name="T32" fmla="*/ 0 w 132"/>
              <a:gd name="T33" fmla="*/ 171 h 188"/>
              <a:gd name="T34" fmla="*/ 7 w 132"/>
              <a:gd name="T35" fmla="*/ 164 h 188"/>
              <a:gd name="T36" fmla="*/ 15 w 132"/>
              <a:gd name="T37" fmla="*/ 148 h 188"/>
              <a:gd name="T38" fmla="*/ 17 w 132"/>
              <a:gd name="T39" fmla="*/ 138 h 188"/>
              <a:gd name="T40" fmla="*/ 21 w 132"/>
              <a:gd name="T41" fmla="*/ 124 h 188"/>
              <a:gd name="T42" fmla="*/ 11 w 132"/>
              <a:gd name="T43" fmla="*/ 122 h 188"/>
              <a:gd name="T44" fmla="*/ 14 w 132"/>
              <a:gd name="T45" fmla="*/ 113 h 188"/>
              <a:gd name="T46" fmla="*/ 6 w 132"/>
              <a:gd name="T47" fmla="*/ 108 h 188"/>
              <a:gd name="T48" fmla="*/ 18 w 132"/>
              <a:gd name="T49" fmla="*/ 91 h 188"/>
              <a:gd name="T50" fmla="*/ 17 w 132"/>
              <a:gd name="T51" fmla="*/ 85 h 188"/>
              <a:gd name="T52" fmla="*/ 28 w 132"/>
              <a:gd name="T53" fmla="*/ 82 h 188"/>
              <a:gd name="T54" fmla="*/ 58 w 132"/>
              <a:gd name="T55" fmla="*/ 35 h 188"/>
              <a:gd name="T56" fmla="*/ 65 w 132"/>
              <a:gd name="T57" fmla="*/ 1 h 188"/>
              <a:gd name="T58" fmla="*/ 83 w 132"/>
              <a:gd name="T59" fmla="*/ 2 h 188"/>
              <a:gd name="T60" fmla="*/ 87 w 132"/>
              <a:gd name="T61" fmla="*/ 12 h 188"/>
              <a:gd name="T62" fmla="*/ 121 w 132"/>
              <a:gd name="T63" fmla="*/ 2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2" h="188">
                <a:moveTo>
                  <a:pt x="121" y="24"/>
                </a:moveTo>
                <a:cubicBezTo>
                  <a:pt x="121" y="24"/>
                  <a:pt x="132" y="40"/>
                  <a:pt x="127" y="41"/>
                </a:cubicBezTo>
                <a:cubicBezTo>
                  <a:pt x="121" y="42"/>
                  <a:pt x="107" y="52"/>
                  <a:pt x="104" y="56"/>
                </a:cubicBezTo>
                <a:cubicBezTo>
                  <a:pt x="101" y="60"/>
                  <a:pt x="93" y="91"/>
                  <a:pt x="89" y="95"/>
                </a:cubicBezTo>
                <a:cubicBezTo>
                  <a:pt x="86" y="99"/>
                  <a:pt x="74" y="92"/>
                  <a:pt x="71" y="97"/>
                </a:cubicBezTo>
                <a:cubicBezTo>
                  <a:pt x="69" y="102"/>
                  <a:pt x="78" y="118"/>
                  <a:pt x="77" y="121"/>
                </a:cubicBezTo>
                <a:cubicBezTo>
                  <a:pt x="77" y="124"/>
                  <a:pt x="71" y="127"/>
                  <a:pt x="65" y="134"/>
                </a:cubicBezTo>
                <a:cubicBezTo>
                  <a:pt x="60" y="140"/>
                  <a:pt x="70" y="145"/>
                  <a:pt x="69" y="147"/>
                </a:cubicBezTo>
                <a:cubicBezTo>
                  <a:pt x="69" y="149"/>
                  <a:pt x="68" y="152"/>
                  <a:pt x="67" y="156"/>
                </a:cubicBezTo>
                <a:cubicBezTo>
                  <a:pt x="65" y="160"/>
                  <a:pt x="55" y="162"/>
                  <a:pt x="51" y="166"/>
                </a:cubicBezTo>
                <a:cubicBezTo>
                  <a:pt x="49" y="168"/>
                  <a:pt x="46" y="176"/>
                  <a:pt x="44" y="184"/>
                </a:cubicBezTo>
                <a:cubicBezTo>
                  <a:pt x="42" y="184"/>
                  <a:pt x="41" y="184"/>
                  <a:pt x="40" y="184"/>
                </a:cubicBezTo>
                <a:cubicBezTo>
                  <a:pt x="36" y="184"/>
                  <a:pt x="31" y="188"/>
                  <a:pt x="29" y="187"/>
                </a:cubicBezTo>
                <a:cubicBezTo>
                  <a:pt x="26" y="185"/>
                  <a:pt x="28" y="182"/>
                  <a:pt x="18" y="178"/>
                </a:cubicBezTo>
                <a:cubicBezTo>
                  <a:pt x="9" y="174"/>
                  <a:pt x="10" y="174"/>
                  <a:pt x="7" y="174"/>
                </a:cubicBezTo>
                <a:cubicBezTo>
                  <a:pt x="4" y="174"/>
                  <a:pt x="2" y="174"/>
                  <a:pt x="1" y="174"/>
                </a:cubicBezTo>
                <a:cubicBezTo>
                  <a:pt x="0" y="174"/>
                  <a:pt x="0" y="173"/>
                  <a:pt x="0" y="171"/>
                </a:cubicBezTo>
                <a:cubicBezTo>
                  <a:pt x="1" y="168"/>
                  <a:pt x="4" y="168"/>
                  <a:pt x="7" y="164"/>
                </a:cubicBezTo>
                <a:cubicBezTo>
                  <a:pt x="10" y="161"/>
                  <a:pt x="15" y="150"/>
                  <a:pt x="15" y="148"/>
                </a:cubicBezTo>
                <a:cubicBezTo>
                  <a:pt x="16" y="145"/>
                  <a:pt x="15" y="141"/>
                  <a:pt x="17" y="138"/>
                </a:cubicBezTo>
                <a:cubicBezTo>
                  <a:pt x="18" y="136"/>
                  <a:pt x="24" y="127"/>
                  <a:pt x="21" y="124"/>
                </a:cubicBezTo>
                <a:cubicBezTo>
                  <a:pt x="18" y="120"/>
                  <a:pt x="13" y="124"/>
                  <a:pt x="11" y="122"/>
                </a:cubicBezTo>
                <a:cubicBezTo>
                  <a:pt x="9" y="119"/>
                  <a:pt x="15" y="115"/>
                  <a:pt x="14" y="113"/>
                </a:cubicBezTo>
                <a:cubicBezTo>
                  <a:pt x="12" y="110"/>
                  <a:pt x="6" y="112"/>
                  <a:pt x="6" y="108"/>
                </a:cubicBezTo>
                <a:cubicBezTo>
                  <a:pt x="6" y="104"/>
                  <a:pt x="18" y="93"/>
                  <a:pt x="18" y="91"/>
                </a:cubicBezTo>
                <a:cubicBezTo>
                  <a:pt x="18" y="89"/>
                  <a:pt x="16" y="87"/>
                  <a:pt x="17" y="85"/>
                </a:cubicBezTo>
                <a:cubicBezTo>
                  <a:pt x="18" y="83"/>
                  <a:pt x="23" y="86"/>
                  <a:pt x="28" y="82"/>
                </a:cubicBezTo>
                <a:cubicBezTo>
                  <a:pt x="32" y="77"/>
                  <a:pt x="58" y="40"/>
                  <a:pt x="58" y="35"/>
                </a:cubicBezTo>
                <a:cubicBezTo>
                  <a:pt x="59" y="32"/>
                  <a:pt x="63" y="8"/>
                  <a:pt x="65" y="1"/>
                </a:cubicBezTo>
                <a:cubicBezTo>
                  <a:pt x="73" y="1"/>
                  <a:pt x="81" y="0"/>
                  <a:pt x="83" y="2"/>
                </a:cubicBezTo>
                <a:cubicBezTo>
                  <a:pt x="87" y="4"/>
                  <a:pt x="81" y="10"/>
                  <a:pt x="87" y="12"/>
                </a:cubicBezTo>
                <a:cubicBezTo>
                  <a:pt x="92" y="14"/>
                  <a:pt x="121" y="24"/>
                  <a:pt x="121" y="24"/>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77" name="Freeform 173"/>
          <p:cNvSpPr>
            <a:spLocks/>
          </p:cNvSpPr>
          <p:nvPr>
            <p:custDataLst>
              <p:tags r:id="rId56"/>
            </p:custDataLst>
          </p:nvPr>
        </p:nvSpPr>
        <p:spPr bwMode="gray">
          <a:xfrm>
            <a:off x="1168580" y="3427084"/>
            <a:ext cx="1247796" cy="817241"/>
          </a:xfrm>
          <a:custGeom>
            <a:avLst/>
            <a:gdLst>
              <a:gd name="T0" fmla="*/ 344 w 345"/>
              <a:gd name="T1" fmla="*/ 141 h 305"/>
              <a:gd name="T2" fmla="*/ 337 w 345"/>
              <a:gd name="T3" fmla="*/ 155 h 305"/>
              <a:gd name="T4" fmla="*/ 300 w 345"/>
              <a:gd name="T5" fmla="*/ 171 h 305"/>
              <a:gd name="T6" fmla="*/ 261 w 345"/>
              <a:gd name="T7" fmla="*/ 178 h 305"/>
              <a:gd name="T8" fmla="*/ 256 w 345"/>
              <a:gd name="T9" fmla="*/ 188 h 305"/>
              <a:gd name="T10" fmla="*/ 222 w 345"/>
              <a:gd name="T11" fmla="*/ 218 h 305"/>
              <a:gd name="T12" fmla="*/ 229 w 345"/>
              <a:gd name="T13" fmla="*/ 245 h 305"/>
              <a:gd name="T14" fmla="*/ 219 w 345"/>
              <a:gd name="T15" fmla="*/ 255 h 305"/>
              <a:gd name="T16" fmla="*/ 197 w 345"/>
              <a:gd name="T17" fmla="*/ 271 h 305"/>
              <a:gd name="T18" fmla="*/ 175 w 345"/>
              <a:gd name="T19" fmla="*/ 280 h 305"/>
              <a:gd name="T20" fmla="*/ 144 w 345"/>
              <a:gd name="T21" fmla="*/ 304 h 305"/>
              <a:gd name="T22" fmla="*/ 132 w 345"/>
              <a:gd name="T23" fmla="*/ 298 h 305"/>
              <a:gd name="T24" fmla="*/ 118 w 345"/>
              <a:gd name="T25" fmla="*/ 294 h 305"/>
              <a:gd name="T26" fmla="*/ 69 w 345"/>
              <a:gd name="T27" fmla="*/ 288 h 305"/>
              <a:gd name="T28" fmla="*/ 47 w 345"/>
              <a:gd name="T29" fmla="*/ 295 h 305"/>
              <a:gd name="T30" fmla="*/ 35 w 345"/>
              <a:gd name="T31" fmla="*/ 288 h 305"/>
              <a:gd name="T32" fmla="*/ 24 w 345"/>
              <a:gd name="T33" fmla="*/ 264 h 305"/>
              <a:gd name="T34" fmla="*/ 14 w 345"/>
              <a:gd name="T35" fmla="*/ 242 h 305"/>
              <a:gd name="T36" fmla="*/ 7 w 345"/>
              <a:gd name="T37" fmla="*/ 220 h 305"/>
              <a:gd name="T38" fmla="*/ 25 w 345"/>
              <a:gd name="T39" fmla="*/ 201 h 305"/>
              <a:gd name="T40" fmla="*/ 33 w 345"/>
              <a:gd name="T41" fmla="*/ 175 h 305"/>
              <a:gd name="T42" fmla="*/ 45 w 345"/>
              <a:gd name="T43" fmla="*/ 149 h 305"/>
              <a:gd name="T44" fmla="*/ 83 w 345"/>
              <a:gd name="T45" fmla="*/ 95 h 305"/>
              <a:gd name="T46" fmla="*/ 43 w 345"/>
              <a:gd name="T47" fmla="*/ 66 h 305"/>
              <a:gd name="T48" fmla="*/ 21 w 345"/>
              <a:gd name="T49" fmla="*/ 55 h 305"/>
              <a:gd name="T50" fmla="*/ 30 w 345"/>
              <a:gd name="T51" fmla="*/ 45 h 305"/>
              <a:gd name="T52" fmla="*/ 32 w 345"/>
              <a:gd name="T53" fmla="*/ 32 h 305"/>
              <a:gd name="T54" fmla="*/ 27 w 345"/>
              <a:gd name="T55" fmla="*/ 18 h 305"/>
              <a:gd name="T56" fmla="*/ 27 w 345"/>
              <a:gd name="T57" fmla="*/ 6 h 305"/>
              <a:gd name="T58" fmla="*/ 40 w 345"/>
              <a:gd name="T59" fmla="*/ 6 h 305"/>
              <a:gd name="T60" fmla="*/ 54 w 345"/>
              <a:gd name="T61" fmla="*/ 9 h 305"/>
              <a:gd name="T62" fmla="*/ 69 w 345"/>
              <a:gd name="T63" fmla="*/ 0 h 305"/>
              <a:gd name="T64" fmla="*/ 84 w 345"/>
              <a:gd name="T65" fmla="*/ 15 h 305"/>
              <a:gd name="T66" fmla="*/ 118 w 345"/>
              <a:gd name="T67" fmla="*/ 22 h 305"/>
              <a:gd name="T68" fmla="*/ 158 w 345"/>
              <a:gd name="T69" fmla="*/ 46 h 305"/>
              <a:gd name="T70" fmla="*/ 182 w 345"/>
              <a:gd name="T71" fmla="*/ 60 h 305"/>
              <a:gd name="T72" fmla="*/ 204 w 345"/>
              <a:gd name="T73" fmla="*/ 65 h 305"/>
              <a:gd name="T74" fmla="*/ 225 w 345"/>
              <a:gd name="T75" fmla="*/ 76 h 305"/>
              <a:gd name="T76" fmla="*/ 271 w 345"/>
              <a:gd name="T77" fmla="*/ 109 h 305"/>
              <a:gd name="T78" fmla="*/ 301 w 345"/>
              <a:gd name="T79" fmla="*/ 120 h 305"/>
              <a:gd name="T80" fmla="*/ 338 w 345"/>
              <a:gd name="T81" fmla="*/ 13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5" h="305">
                <a:moveTo>
                  <a:pt x="340" y="136"/>
                </a:moveTo>
                <a:cubicBezTo>
                  <a:pt x="345" y="138"/>
                  <a:pt x="345" y="138"/>
                  <a:pt x="344" y="141"/>
                </a:cubicBezTo>
                <a:cubicBezTo>
                  <a:pt x="344" y="143"/>
                  <a:pt x="337" y="141"/>
                  <a:pt x="337" y="144"/>
                </a:cubicBezTo>
                <a:cubicBezTo>
                  <a:pt x="337" y="148"/>
                  <a:pt x="342" y="154"/>
                  <a:pt x="337" y="155"/>
                </a:cubicBezTo>
                <a:cubicBezTo>
                  <a:pt x="333" y="157"/>
                  <a:pt x="311" y="162"/>
                  <a:pt x="308" y="165"/>
                </a:cubicBezTo>
                <a:cubicBezTo>
                  <a:pt x="306" y="168"/>
                  <a:pt x="302" y="171"/>
                  <a:pt x="300" y="171"/>
                </a:cubicBezTo>
                <a:cubicBezTo>
                  <a:pt x="297" y="171"/>
                  <a:pt x="274" y="171"/>
                  <a:pt x="271" y="172"/>
                </a:cubicBezTo>
                <a:cubicBezTo>
                  <a:pt x="268" y="174"/>
                  <a:pt x="262" y="176"/>
                  <a:pt x="261" y="178"/>
                </a:cubicBezTo>
                <a:cubicBezTo>
                  <a:pt x="260" y="179"/>
                  <a:pt x="269" y="181"/>
                  <a:pt x="267" y="183"/>
                </a:cubicBezTo>
                <a:cubicBezTo>
                  <a:pt x="266" y="185"/>
                  <a:pt x="258" y="187"/>
                  <a:pt x="256" y="188"/>
                </a:cubicBezTo>
                <a:cubicBezTo>
                  <a:pt x="254" y="188"/>
                  <a:pt x="252" y="188"/>
                  <a:pt x="249" y="191"/>
                </a:cubicBezTo>
                <a:cubicBezTo>
                  <a:pt x="246" y="195"/>
                  <a:pt x="225" y="211"/>
                  <a:pt x="222" y="218"/>
                </a:cubicBezTo>
                <a:cubicBezTo>
                  <a:pt x="219" y="225"/>
                  <a:pt x="220" y="233"/>
                  <a:pt x="221" y="237"/>
                </a:cubicBezTo>
                <a:cubicBezTo>
                  <a:pt x="222" y="241"/>
                  <a:pt x="227" y="243"/>
                  <a:pt x="229" y="245"/>
                </a:cubicBezTo>
                <a:cubicBezTo>
                  <a:pt x="231" y="246"/>
                  <a:pt x="231" y="248"/>
                  <a:pt x="231" y="250"/>
                </a:cubicBezTo>
                <a:cubicBezTo>
                  <a:pt x="231" y="251"/>
                  <a:pt x="224" y="254"/>
                  <a:pt x="219" y="255"/>
                </a:cubicBezTo>
                <a:cubicBezTo>
                  <a:pt x="215" y="255"/>
                  <a:pt x="212" y="254"/>
                  <a:pt x="207" y="259"/>
                </a:cubicBezTo>
                <a:cubicBezTo>
                  <a:pt x="202" y="263"/>
                  <a:pt x="199" y="266"/>
                  <a:pt x="197" y="271"/>
                </a:cubicBezTo>
                <a:cubicBezTo>
                  <a:pt x="194" y="276"/>
                  <a:pt x="196" y="281"/>
                  <a:pt x="194" y="283"/>
                </a:cubicBezTo>
                <a:cubicBezTo>
                  <a:pt x="192" y="284"/>
                  <a:pt x="178" y="279"/>
                  <a:pt x="175" y="280"/>
                </a:cubicBezTo>
                <a:cubicBezTo>
                  <a:pt x="172" y="281"/>
                  <a:pt x="163" y="284"/>
                  <a:pt x="160" y="287"/>
                </a:cubicBezTo>
                <a:cubicBezTo>
                  <a:pt x="158" y="291"/>
                  <a:pt x="149" y="305"/>
                  <a:pt x="144" y="304"/>
                </a:cubicBezTo>
                <a:cubicBezTo>
                  <a:pt x="139" y="303"/>
                  <a:pt x="144" y="297"/>
                  <a:pt x="140" y="297"/>
                </a:cubicBezTo>
                <a:cubicBezTo>
                  <a:pt x="136" y="297"/>
                  <a:pt x="134" y="295"/>
                  <a:pt x="132" y="298"/>
                </a:cubicBezTo>
                <a:cubicBezTo>
                  <a:pt x="129" y="301"/>
                  <a:pt x="123" y="301"/>
                  <a:pt x="122" y="299"/>
                </a:cubicBezTo>
                <a:cubicBezTo>
                  <a:pt x="120" y="298"/>
                  <a:pt x="122" y="296"/>
                  <a:pt x="118" y="294"/>
                </a:cubicBezTo>
                <a:cubicBezTo>
                  <a:pt x="113" y="292"/>
                  <a:pt x="85" y="283"/>
                  <a:pt x="81" y="284"/>
                </a:cubicBezTo>
                <a:cubicBezTo>
                  <a:pt x="78" y="285"/>
                  <a:pt x="72" y="290"/>
                  <a:pt x="69" y="288"/>
                </a:cubicBezTo>
                <a:cubicBezTo>
                  <a:pt x="66" y="287"/>
                  <a:pt x="60" y="286"/>
                  <a:pt x="56" y="287"/>
                </a:cubicBezTo>
                <a:cubicBezTo>
                  <a:pt x="50" y="288"/>
                  <a:pt x="50" y="295"/>
                  <a:pt x="47" y="295"/>
                </a:cubicBezTo>
                <a:cubicBezTo>
                  <a:pt x="44" y="295"/>
                  <a:pt x="40" y="299"/>
                  <a:pt x="38" y="296"/>
                </a:cubicBezTo>
                <a:cubicBezTo>
                  <a:pt x="36" y="293"/>
                  <a:pt x="36" y="290"/>
                  <a:pt x="35" y="288"/>
                </a:cubicBezTo>
                <a:cubicBezTo>
                  <a:pt x="34" y="285"/>
                  <a:pt x="27" y="290"/>
                  <a:pt x="26" y="285"/>
                </a:cubicBezTo>
                <a:cubicBezTo>
                  <a:pt x="26" y="280"/>
                  <a:pt x="24" y="266"/>
                  <a:pt x="24" y="264"/>
                </a:cubicBezTo>
                <a:cubicBezTo>
                  <a:pt x="24" y="262"/>
                  <a:pt x="26" y="260"/>
                  <a:pt x="26" y="258"/>
                </a:cubicBezTo>
                <a:cubicBezTo>
                  <a:pt x="26" y="256"/>
                  <a:pt x="17" y="244"/>
                  <a:pt x="14" y="242"/>
                </a:cubicBezTo>
                <a:cubicBezTo>
                  <a:pt x="12" y="240"/>
                  <a:pt x="5" y="238"/>
                  <a:pt x="0" y="238"/>
                </a:cubicBezTo>
                <a:cubicBezTo>
                  <a:pt x="2" y="230"/>
                  <a:pt x="5" y="222"/>
                  <a:pt x="7" y="220"/>
                </a:cubicBezTo>
                <a:cubicBezTo>
                  <a:pt x="11" y="216"/>
                  <a:pt x="21" y="214"/>
                  <a:pt x="23" y="210"/>
                </a:cubicBezTo>
                <a:cubicBezTo>
                  <a:pt x="24" y="206"/>
                  <a:pt x="25" y="203"/>
                  <a:pt x="25" y="201"/>
                </a:cubicBezTo>
                <a:cubicBezTo>
                  <a:pt x="26" y="199"/>
                  <a:pt x="16" y="194"/>
                  <a:pt x="21" y="188"/>
                </a:cubicBezTo>
                <a:cubicBezTo>
                  <a:pt x="27" y="181"/>
                  <a:pt x="33" y="178"/>
                  <a:pt x="33" y="175"/>
                </a:cubicBezTo>
                <a:cubicBezTo>
                  <a:pt x="34" y="172"/>
                  <a:pt x="25" y="156"/>
                  <a:pt x="27" y="151"/>
                </a:cubicBezTo>
                <a:cubicBezTo>
                  <a:pt x="30" y="146"/>
                  <a:pt x="42" y="153"/>
                  <a:pt x="45" y="149"/>
                </a:cubicBezTo>
                <a:cubicBezTo>
                  <a:pt x="49" y="145"/>
                  <a:pt x="57" y="114"/>
                  <a:pt x="60" y="110"/>
                </a:cubicBezTo>
                <a:cubicBezTo>
                  <a:pt x="63" y="106"/>
                  <a:pt x="77" y="96"/>
                  <a:pt x="83" y="95"/>
                </a:cubicBezTo>
                <a:cubicBezTo>
                  <a:pt x="88" y="94"/>
                  <a:pt x="77" y="78"/>
                  <a:pt x="77" y="78"/>
                </a:cubicBezTo>
                <a:cubicBezTo>
                  <a:pt x="77" y="78"/>
                  <a:pt x="48" y="68"/>
                  <a:pt x="43" y="66"/>
                </a:cubicBezTo>
                <a:cubicBezTo>
                  <a:pt x="37" y="64"/>
                  <a:pt x="43" y="58"/>
                  <a:pt x="39" y="56"/>
                </a:cubicBezTo>
                <a:cubicBezTo>
                  <a:pt x="37" y="54"/>
                  <a:pt x="29" y="55"/>
                  <a:pt x="21" y="55"/>
                </a:cubicBezTo>
                <a:cubicBezTo>
                  <a:pt x="21" y="54"/>
                  <a:pt x="21" y="54"/>
                  <a:pt x="21" y="54"/>
                </a:cubicBezTo>
                <a:cubicBezTo>
                  <a:pt x="22" y="50"/>
                  <a:pt x="29" y="48"/>
                  <a:pt x="30" y="45"/>
                </a:cubicBezTo>
                <a:cubicBezTo>
                  <a:pt x="31" y="43"/>
                  <a:pt x="25" y="42"/>
                  <a:pt x="25" y="40"/>
                </a:cubicBezTo>
                <a:cubicBezTo>
                  <a:pt x="26" y="37"/>
                  <a:pt x="32" y="37"/>
                  <a:pt x="32" y="32"/>
                </a:cubicBezTo>
                <a:cubicBezTo>
                  <a:pt x="32" y="28"/>
                  <a:pt x="24" y="34"/>
                  <a:pt x="24" y="31"/>
                </a:cubicBezTo>
                <a:cubicBezTo>
                  <a:pt x="24" y="28"/>
                  <a:pt x="28" y="21"/>
                  <a:pt x="27" y="18"/>
                </a:cubicBezTo>
                <a:cubicBezTo>
                  <a:pt x="27" y="16"/>
                  <a:pt x="20" y="19"/>
                  <a:pt x="22" y="15"/>
                </a:cubicBezTo>
                <a:cubicBezTo>
                  <a:pt x="24" y="12"/>
                  <a:pt x="25" y="7"/>
                  <a:pt x="27" y="6"/>
                </a:cubicBezTo>
                <a:cubicBezTo>
                  <a:pt x="30" y="5"/>
                  <a:pt x="31" y="10"/>
                  <a:pt x="33" y="9"/>
                </a:cubicBezTo>
                <a:cubicBezTo>
                  <a:pt x="36" y="9"/>
                  <a:pt x="39" y="6"/>
                  <a:pt x="40" y="6"/>
                </a:cubicBezTo>
                <a:cubicBezTo>
                  <a:pt x="40" y="6"/>
                  <a:pt x="44" y="9"/>
                  <a:pt x="47" y="9"/>
                </a:cubicBezTo>
                <a:cubicBezTo>
                  <a:pt x="50" y="9"/>
                  <a:pt x="54" y="10"/>
                  <a:pt x="54" y="9"/>
                </a:cubicBezTo>
                <a:cubicBezTo>
                  <a:pt x="55" y="8"/>
                  <a:pt x="52" y="3"/>
                  <a:pt x="55" y="2"/>
                </a:cubicBezTo>
                <a:cubicBezTo>
                  <a:pt x="58" y="1"/>
                  <a:pt x="64" y="0"/>
                  <a:pt x="69" y="0"/>
                </a:cubicBezTo>
                <a:cubicBezTo>
                  <a:pt x="74" y="0"/>
                  <a:pt x="79" y="7"/>
                  <a:pt x="80" y="8"/>
                </a:cubicBezTo>
                <a:cubicBezTo>
                  <a:pt x="82" y="10"/>
                  <a:pt x="82" y="15"/>
                  <a:pt x="84" y="15"/>
                </a:cubicBezTo>
                <a:cubicBezTo>
                  <a:pt x="86" y="15"/>
                  <a:pt x="108" y="24"/>
                  <a:pt x="110" y="24"/>
                </a:cubicBezTo>
                <a:cubicBezTo>
                  <a:pt x="113" y="24"/>
                  <a:pt x="115" y="21"/>
                  <a:pt x="118" y="22"/>
                </a:cubicBezTo>
                <a:cubicBezTo>
                  <a:pt x="121" y="23"/>
                  <a:pt x="119" y="28"/>
                  <a:pt x="121" y="29"/>
                </a:cubicBezTo>
                <a:cubicBezTo>
                  <a:pt x="124" y="29"/>
                  <a:pt x="150" y="46"/>
                  <a:pt x="158" y="46"/>
                </a:cubicBezTo>
                <a:cubicBezTo>
                  <a:pt x="167" y="46"/>
                  <a:pt x="171" y="46"/>
                  <a:pt x="174" y="48"/>
                </a:cubicBezTo>
                <a:cubicBezTo>
                  <a:pt x="177" y="49"/>
                  <a:pt x="180" y="59"/>
                  <a:pt x="182" y="60"/>
                </a:cubicBezTo>
                <a:cubicBezTo>
                  <a:pt x="185" y="60"/>
                  <a:pt x="188" y="55"/>
                  <a:pt x="190" y="56"/>
                </a:cubicBezTo>
                <a:cubicBezTo>
                  <a:pt x="193" y="56"/>
                  <a:pt x="201" y="64"/>
                  <a:pt x="204" y="65"/>
                </a:cubicBezTo>
                <a:cubicBezTo>
                  <a:pt x="207" y="67"/>
                  <a:pt x="216" y="68"/>
                  <a:pt x="221" y="67"/>
                </a:cubicBezTo>
                <a:cubicBezTo>
                  <a:pt x="223" y="71"/>
                  <a:pt x="225" y="75"/>
                  <a:pt x="225" y="76"/>
                </a:cubicBezTo>
                <a:cubicBezTo>
                  <a:pt x="227" y="78"/>
                  <a:pt x="245" y="97"/>
                  <a:pt x="253" y="101"/>
                </a:cubicBezTo>
                <a:cubicBezTo>
                  <a:pt x="261" y="105"/>
                  <a:pt x="265" y="108"/>
                  <a:pt x="271" y="109"/>
                </a:cubicBezTo>
                <a:cubicBezTo>
                  <a:pt x="276" y="110"/>
                  <a:pt x="279" y="101"/>
                  <a:pt x="282" y="103"/>
                </a:cubicBezTo>
                <a:cubicBezTo>
                  <a:pt x="285" y="105"/>
                  <a:pt x="296" y="114"/>
                  <a:pt x="301" y="120"/>
                </a:cubicBezTo>
                <a:cubicBezTo>
                  <a:pt x="307" y="125"/>
                  <a:pt x="319" y="132"/>
                  <a:pt x="323" y="132"/>
                </a:cubicBezTo>
                <a:cubicBezTo>
                  <a:pt x="325" y="133"/>
                  <a:pt x="331" y="133"/>
                  <a:pt x="338" y="133"/>
                </a:cubicBezTo>
                <a:cubicBezTo>
                  <a:pt x="338" y="134"/>
                  <a:pt x="339" y="135"/>
                  <a:pt x="340" y="136"/>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78" name="Freeform 174"/>
          <p:cNvSpPr>
            <a:spLocks/>
          </p:cNvSpPr>
          <p:nvPr>
            <p:custDataLst>
              <p:tags r:id="rId57"/>
            </p:custDataLst>
          </p:nvPr>
        </p:nvSpPr>
        <p:spPr bwMode="gray">
          <a:xfrm>
            <a:off x="2219985" y="4019187"/>
            <a:ext cx="134120" cy="83320"/>
          </a:xfrm>
          <a:custGeom>
            <a:avLst/>
            <a:gdLst>
              <a:gd name="T0" fmla="*/ 30 w 37"/>
              <a:gd name="T1" fmla="*/ 10 h 31"/>
              <a:gd name="T2" fmla="*/ 37 w 37"/>
              <a:gd name="T3" fmla="*/ 14 h 31"/>
              <a:gd name="T4" fmla="*/ 29 w 37"/>
              <a:gd name="T5" fmla="*/ 27 h 31"/>
              <a:gd name="T6" fmla="*/ 18 w 37"/>
              <a:gd name="T7" fmla="*/ 27 h 31"/>
              <a:gd name="T8" fmla="*/ 16 w 37"/>
              <a:gd name="T9" fmla="*/ 17 h 31"/>
              <a:gd name="T10" fmla="*/ 7 w 37"/>
              <a:gd name="T11" fmla="*/ 19 h 31"/>
              <a:gd name="T12" fmla="*/ 1 w 37"/>
              <a:gd name="T13" fmla="*/ 11 h 31"/>
              <a:gd name="T14" fmla="*/ 19 w 37"/>
              <a:gd name="T15" fmla="*/ 5 h 31"/>
              <a:gd name="T16" fmla="*/ 30 w 37"/>
              <a:gd name="T17" fmla="*/ 3 h 31"/>
              <a:gd name="T18" fmla="*/ 30 w 37"/>
              <a:gd name="T19"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1">
                <a:moveTo>
                  <a:pt x="30" y="10"/>
                </a:moveTo>
                <a:cubicBezTo>
                  <a:pt x="34" y="11"/>
                  <a:pt x="37" y="8"/>
                  <a:pt x="37" y="14"/>
                </a:cubicBezTo>
                <a:cubicBezTo>
                  <a:pt x="37" y="20"/>
                  <a:pt x="29" y="27"/>
                  <a:pt x="29" y="27"/>
                </a:cubicBezTo>
                <a:cubicBezTo>
                  <a:pt x="26" y="29"/>
                  <a:pt x="20" y="31"/>
                  <a:pt x="18" y="27"/>
                </a:cubicBezTo>
                <a:cubicBezTo>
                  <a:pt x="16" y="24"/>
                  <a:pt x="18" y="19"/>
                  <a:pt x="16" y="17"/>
                </a:cubicBezTo>
                <a:cubicBezTo>
                  <a:pt x="14" y="15"/>
                  <a:pt x="10" y="20"/>
                  <a:pt x="7" y="19"/>
                </a:cubicBezTo>
                <a:cubicBezTo>
                  <a:pt x="4" y="19"/>
                  <a:pt x="0" y="13"/>
                  <a:pt x="1" y="11"/>
                </a:cubicBezTo>
                <a:cubicBezTo>
                  <a:pt x="2" y="9"/>
                  <a:pt x="15" y="6"/>
                  <a:pt x="19" y="5"/>
                </a:cubicBezTo>
                <a:cubicBezTo>
                  <a:pt x="23" y="3"/>
                  <a:pt x="30" y="0"/>
                  <a:pt x="30" y="3"/>
                </a:cubicBezTo>
                <a:cubicBezTo>
                  <a:pt x="31" y="5"/>
                  <a:pt x="26" y="9"/>
                  <a:pt x="30" y="1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79" name="Freeform 175"/>
          <p:cNvSpPr>
            <a:spLocks/>
          </p:cNvSpPr>
          <p:nvPr>
            <p:custDataLst>
              <p:tags r:id="rId58"/>
            </p:custDataLst>
          </p:nvPr>
        </p:nvSpPr>
        <p:spPr bwMode="gray">
          <a:xfrm>
            <a:off x="2100234" y="4081232"/>
            <a:ext cx="52690" cy="33683"/>
          </a:xfrm>
          <a:custGeom>
            <a:avLst/>
            <a:gdLst>
              <a:gd name="T0" fmla="*/ 8 w 15"/>
              <a:gd name="T1" fmla="*/ 0 h 13"/>
              <a:gd name="T2" fmla="*/ 14 w 15"/>
              <a:gd name="T3" fmla="*/ 1 h 13"/>
              <a:gd name="T4" fmla="*/ 14 w 15"/>
              <a:gd name="T5" fmla="*/ 6 h 13"/>
              <a:gd name="T6" fmla="*/ 8 w 15"/>
              <a:gd name="T7" fmla="*/ 10 h 13"/>
              <a:gd name="T8" fmla="*/ 6 w 15"/>
              <a:gd name="T9" fmla="*/ 13 h 13"/>
              <a:gd name="T10" fmla="*/ 2 w 15"/>
              <a:gd name="T11" fmla="*/ 9 h 13"/>
              <a:gd name="T12" fmla="*/ 1 w 15"/>
              <a:gd name="T13" fmla="*/ 5 h 13"/>
              <a:gd name="T14" fmla="*/ 5 w 15"/>
              <a:gd name="T15" fmla="*/ 4 h 13"/>
              <a:gd name="T16" fmla="*/ 8 w 15"/>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8" y="0"/>
                </a:moveTo>
                <a:cubicBezTo>
                  <a:pt x="10" y="0"/>
                  <a:pt x="13" y="0"/>
                  <a:pt x="14" y="1"/>
                </a:cubicBezTo>
                <a:cubicBezTo>
                  <a:pt x="15" y="2"/>
                  <a:pt x="15" y="5"/>
                  <a:pt x="14" y="6"/>
                </a:cubicBezTo>
                <a:cubicBezTo>
                  <a:pt x="13" y="7"/>
                  <a:pt x="9" y="9"/>
                  <a:pt x="8" y="10"/>
                </a:cubicBezTo>
                <a:cubicBezTo>
                  <a:pt x="8" y="11"/>
                  <a:pt x="8" y="13"/>
                  <a:pt x="6" y="13"/>
                </a:cubicBezTo>
                <a:cubicBezTo>
                  <a:pt x="5" y="13"/>
                  <a:pt x="4" y="10"/>
                  <a:pt x="2" y="9"/>
                </a:cubicBezTo>
                <a:cubicBezTo>
                  <a:pt x="0" y="9"/>
                  <a:pt x="0" y="7"/>
                  <a:pt x="1" y="5"/>
                </a:cubicBezTo>
                <a:cubicBezTo>
                  <a:pt x="1" y="3"/>
                  <a:pt x="4" y="5"/>
                  <a:pt x="5" y="4"/>
                </a:cubicBezTo>
                <a:cubicBezTo>
                  <a:pt x="6" y="4"/>
                  <a:pt x="6" y="0"/>
                  <a:pt x="8" y="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80" name="Freeform 176"/>
          <p:cNvSpPr>
            <a:spLocks/>
          </p:cNvSpPr>
          <p:nvPr>
            <p:custDataLst>
              <p:tags r:id="rId59"/>
            </p:custDataLst>
          </p:nvPr>
        </p:nvSpPr>
        <p:spPr bwMode="gray">
          <a:xfrm>
            <a:off x="2387636" y="4028049"/>
            <a:ext cx="62271" cy="39001"/>
          </a:xfrm>
          <a:custGeom>
            <a:avLst/>
            <a:gdLst>
              <a:gd name="T0" fmla="*/ 3 w 17"/>
              <a:gd name="T1" fmla="*/ 1 h 15"/>
              <a:gd name="T2" fmla="*/ 10 w 17"/>
              <a:gd name="T3" fmla="*/ 1 h 15"/>
              <a:gd name="T4" fmla="*/ 16 w 17"/>
              <a:gd name="T5" fmla="*/ 7 h 15"/>
              <a:gd name="T6" fmla="*/ 15 w 17"/>
              <a:gd name="T7" fmla="*/ 14 h 15"/>
              <a:gd name="T8" fmla="*/ 7 w 17"/>
              <a:gd name="T9" fmla="*/ 9 h 15"/>
              <a:gd name="T10" fmla="*/ 1 w 17"/>
              <a:gd name="T11" fmla="*/ 8 h 15"/>
              <a:gd name="T12" fmla="*/ 1 w 17"/>
              <a:gd name="T13" fmla="*/ 2 h 15"/>
              <a:gd name="T14" fmla="*/ 3 w 1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3" y="1"/>
                </a:moveTo>
                <a:cubicBezTo>
                  <a:pt x="4" y="1"/>
                  <a:pt x="8" y="0"/>
                  <a:pt x="10" y="1"/>
                </a:cubicBezTo>
                <a:cubicBezTo>
                  <a:pt x="11" y="1"/>
                  <a:pt x="16" y="4"/>
                  <a:pt x="16" y="7"/>
                </a:cubicBezTo>
                <a:cubicBezTo>
                  <a:pt x="17" y="11"/>
                  <a:pt x="17" y="15"/>
                  <a:pt x="15" y="14"/>
                </a:cubicBezTo>
                <a:cubicBezTo>
                  <a:pt x="12" y="14"/>
                  <a:pt x="9" y="9"/>
                  <a:pt x="7" y="9"/>
                </a:cubicBezTo>
                <a:cubicBezTo>
                  <a:pt x="5" y="8"/>
                  <a:pt x="1" y="8"/>
                  <a:pt x="1" y="8"/>
                </a:cubicBezTo>
                <a:cubicBezTo>
                  <a:pt x="0" y="8"/>
                  <a:pt x="1" y="2"/>
                  <a:pt x="1" y="2"/>
                </a:cubicBezTo>
                <a:cubicBezTo>
                  <a:pt x="1" y="1"/>
                  <a:pt x="2" y="0"/>
                  <a:pt x="3" y="1"/>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81" name="Freeform 177"/>
          <p:cNvSpPr>
            <a:spLocks/>
          </p:cNvSpPr>
          <p:nvPr>
            <p:custDataLst>
              <p:tags r:id="rId60"/>
            </p:custDataLst>
          </p:nvPr>
        </p:nvSpPr>
        <p:spPr bwMode="gray">
          <a:xfrm>
            <a:off x="2172086" y="2076242"/>
            <a:ext cx="95800" cy="63819"/>
          </a:xfrm>
          <a:custGeom>
            <a:avLst/>
            <a:gdLst>
              <a:gd name="T0" fmla="*/ 25 w 27"/>
              <a:gd name="T1" fmla="*/ 1 h 24"/>
              <a:gd name="T2" fmla="*/ 26 w 27"/>
              <a:gd name="T3" fmla="*/ 5 h 24"/>
              <a:gd name="T4" fmla="*/ 23 w 27"/>
              <a:gd name="T5" fmla="*/ 11 h 24"/>
              <a:gd name="T6" fmla="*/ 16 w 27"/>
              <a:gd name="T7" fmla="*/ 16 h 24"/>
              <a:gd name="T8" fmla="*/ 10 w 27"/>
              <a:gd name="T9" fmla="*/ 21 h 24"/>
              <a:gd name="T10" fmla="*/ 3 w 27"/>
              <a:gd name="T11" fmla="*/ 24 h 24"/>
              <a:gd name="T12" fmla="*/ 1 w 27"/>
              <a:gd name="T13" fmla="*/ 17 h 24"/>
              <a:gd name="T14" fmla="*/ 4 w 27"/>
              <a:gd name="T15" fmla="*/ 6 h 24"/>
              <a:gd name="T16" fmla="*/ 13 w 27"/>
              <a:gd name="T17" fmla="*/ 5 h 24"/>
              <a:gd name="T18" fmla="*/ 25 w 27"/>
              <a:gd name="T19"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4">
                <a:moveTo>
                  <a:pt x="25" y="1"/>
                </a:moveTo>
                <a:cubicBezTo>
                  <a:pt x="27" y="0"/>
                  <a:pt x="27" y="3"/>
                  <a:pt x="26" y="5"/>
                </a:cubicBezTo>
                <a:cubicBezTo>
                  <a:pt x="26" y="8"/>
                  <a:pt x="26" y="10"/>
                  <a:pt x="23" y="11"/>
                </a:cubicBezTo>
                <a:cubicBezTo>
                  <a:pt x="21" y="12"/>
                  <a:pt x="17" y="13"/>
                  <a:pt x="16" y="16"/>
                </a:cubicBezTo>
                <a:cubicBezTo>
                  <a:pt x="15" y="18"/>
                  <a:pt x="10" y="21"/>
                  <a:pt x="10" y="21"/>
                </a:cubicBezTo>
                <a:cubicBezTo>
                  <a:pt x="8" y="22"/>
                  <a:pt x="4" y="23"/>
                  <a:pt x="3" y="24"/>
                </a:cubicBezTo>
                <a:cubicBezTo>
                  <a:pt x="2" y="24"/>
                  <a:pt x="0" y="20"/>
                  <a:pt x="1" y="17"/>
                </a:cubicBezTo>
                <a:cubicBezTo>
                  <a:pt x="1" y="13"/>
                  <a:pt x="1" y="7"/>
                  <a:pt x="4" y="6"/>
                </a:cubicBezTo>
                <a:cubicBezTo>
                  <a:pt x="7" y="5"/>
                  <a:pt x="10" y="6"/>
                  <a:pt x="13" y="5"/>
                </a:cubicBezTo>
                <a:cubicBezTo>
                  <a:pt x="17" y="5"/>
                  <a:pt x="23" y="1"/>
                  <a:pt x="25" y="1"/>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82" name="Freeform 178"/>
          <p:cNvSpPr>
            <a:spLocks/>
          </p:cNvSpPr>
          <p:nvPr>
            <p:custDataLst>
              <p:tags r:id="rId61"/>
            </p:custDataLst>
          </p:nvPr>
        </p:nvSpPr>
        <p:spPr bwMode="gray">
          <a:xfrm>
            <a:off x="1882291" y="2093971"/>
            <a:ext cx="711316" cy="845606"/>
          </a:xfrm>
          <a:custGeom>
            <a:avLst/>
            <a:gdLst>
              <a:gd name="T0" fmla="*/ 99 w 197"/>
              <a:gd name="T1" fmla="*/ 40 h 316"/>
              <a:gd name="T2" fmla="*/ 107 w 197"/>
              <a:gd name="T3" fmla="*/ 22 h 316"/>
              <a:gd name="T4" fmla="*/ 120 w 197"/>
              <a:gd name="T5" fmla="*/ 12 h 316"/>
              <a:gd name="T6" fmla="*/ 137 w 197"/>
              <a:gd name="T7" fmla="*/ 7 h 316"/>
              <a:gd name="T8" fmla="*/ 158 w 197"/>
              <a:gd name="T9" fmla="*/ 21 h 316"/>
              <a:gd name="T10" fmla="*/ 140 w 197"/>
              <a:gd name="T11" fmla="*/ 35 h 316"/>
              <a:gd name="T12" fmla="*/ 165 w 197"/>
              <a:gd name="T13" fmla="*/ 50 h 316"/>
              <a:gd name="T14" fmla="*/ 160 w 197"/>
              <a:gd name="T15" fmla="*/ 78 h 316"/>
              <a:gd name="T16" fmla="*/ 130 w 197"/>
              <a:gd name="T17" fmla="*/ 92 h 316"/>
              <a:gd name="T18" fmla="*/ 129 w 197"/>
              <a:gd name="T19" fmla="*/ 101 h 316"/>
              <a:gd name="T20" fmla="*/ 131 w 197"/>
              <a:gd name="T21" fmla="*/ 109 h 316"/>
              <a:gd name="T22" fmla="*/ 150 w 197"/>
              <a:gd name="T23" fmla="*/ 125 h 316"/>
              <a:gd name="T24" fmla="*/ 164 w 197"/>
              <a:gd name="T25" fmla="*/ 177 h 316"/>
              <a:gd name="T26" fmla="*/ 167 w 197"/>
              <a:gd name="T27" fmla="*/ 213 h 316"/>
              <a:gd name="T28" fmla="*/ 166 w 197"/>
              <a:gd name="T29" fmla="*/ 242 h 316"/>
              <a:gd name="T30" fmla="*/ 192 w 197"/>
              <a:gd name="T31" fmla="*/ 262 h 316"/>
              <a:gd name="T32" fmla="*/ 166 w 197"/>
              <a:gd name="T33" fmla="*/ 288 h 316"/>
              <a:gd name="T34" fmla="*/ 171 w 197"/>
              <a:gd name="T35" fmla="*/ 296 h 316"/>
              <a:gd name="T36" fmla="*/ 161 w 197"/>
              <a:gd name="T37" fmla="*/ 311 h 316"/>
              <a:gd name="T38" fmla="*/ 132 w 197"/>
              <a:gd name="T39" fmla="*/ 308 h 316"/>
              <a:gd name="T40" fmla="*/ 95 w 197"/>
              <a:gd name="T41" fmla="*/ 302 h 316"/>
              <a:gd name="T42" fmla="*/ 69 w 197"/>
              <a:gd name="T43" fmla="*/ 294 h 316"/>
              <a:gd name="T44" fmla="*/ 44 w 197"/>
              <a:gd name="T45" fmla="*/ 303 h 316"/>
              <a:gd name="T46" fmla="*/ 17 w 197"/>
              <a:gd name="T47" fmla="*/ 303 h 316"/>
              <a:gd name="T48" fmla="*/ 2 w 197"/>
              <a:gd name="T49" fmla="*/ 298 h 316"/>
              <a:gd name="T50" fmla="*/ 31 w 197"/>
              <a:gd name="T51" fmla="*/ 281 h 316"/>
              <a:gd name="T52" fmla="*/ 49 w 197"/>
              <a:gd name="T53" fmla="*/ 272 h 316"/>
              <a:gd name="T54" fmla="*/ 76 w 197"/>
              <a:gd name="T55" fmla="*/ 276 h 316"/>
              <a:gd name="T56" fmla="*/ 92 w 197"/>
              <a:gd name="T57" fmla="*/ 259 h 316"/>
              <a:gd name="T58" fmla="*/ 63 w 197"/>
              <a:gd name="T59" fmla="*/ 255 h 316"/>
              <a:gd name="T60" fmla="*/ 35 w 197"/>
              <a:gd name="T61" fmla="*/ 248 h 316"/>
              <a:gd name="T62" fmla="*/ 37 w 197"/>
              <a:gd name="T63" fmla="*/ 232 h 316"/>
              <a:gd name="T64" fmla="*/ 70 w 197"/>
              <a:gd name="T65" fmla="*/ 209 h 316"/>
              <a:gd name="T66" fmla="*/ 65 w 197"/>
              <a:gd name="T67" fmla="*/ 188 h 316"/>
              <a:gd name="T68" fmla="*/ 89 w 197"/>
              <a:gd name="T69" fmla="*/ 197 h 316"/>
              <a:gd name="T70" fmla="*/ 107 w 197"/>
              <a:gd name="T71" fmla="*/ 181 h 316"/>
              <a:gd name="T72" fmla="*/ 103 w 197"/>
              <a:gd name="T73" fmla="*/ 172 h 316"/>
              <a:gd name="T74" fmla="*/ 118 w 197"/>
              <a:gd name="T75" fmla="*/ 142 h 316"/>
              <a:gd name="T76" fmla="*/ 95 w 197"/>
              <a:gd name="T77" fmla="*/ 140 h 316"/>
              <a:gd name="T78" fmla="*/ 82 w 197"/>
              <a:gd name="T79" fmla="*/ 134 h 316"/>
              <a:gd name="T80" fmla="*/ 82 w 197"/>
              <a:gd name="T81" fmla="*/ 123 h 316"/>
              <a:gd name="T82" fmla="*/ 97 w 197"/>
              <a:gd name="T83" fmla="*/ 95 h 316"/>
              <a:gd name="T84" fmla="*/ 75 w 197"/>
              <a:gd name="T85" fmla="*/ 113 h 316"/>
              <a:gd name="T86" fmla="*/ 83 w 197"/>
              <a:gd name="T87" fmla="*/ 85 h 316"/>
              <a:gd name="T88" fmla="*/ 96 w 197"/>
              <a:gd name="T89" fmla="*/ 64 h 316"/>
              <a:gd name="T90" fmla="*/ 70 w 197"/>
              <a:gd name="T91" fmla="*/ 73 h 316"/>
              <a:gd name="T92" fmla="*/ 77 w 197"/>
              <a:gd name="T93" fmla="*/ 61 h 316"/>
              <a:gd name="T94" fmla="*/ 90 w 197"/>
              <a:gd name="T95" fmla="*/ 45 h 316"/>
              <a:gd name="T96" fmla="*/ 84 w 197"/>
              <a:gd name="T97" fmla="*/ 26 h 316"/>
              <a:gd name="T98" fmla="*/ 94 w 197"/>
              <a:gd name="T99"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7" h="316">
                <a:moveTo>
                  <a:pt x="94" y="23"/>
                </a:moveTo>
                <a:cubicBezTo>
                  <a:pt x="94" y="25"/>
                  <a:pt x="92" y="38"/>
                  <a:pt x="93" y="38"/>
                </a:cubicBezTo>
                <a:cubicBezTo>
                  <a:pt x="94" y="39"/>
                  <a:pt x="96" y="41"/>
                  <a:pt x="99" y="40"/>
                </a:cubicBezTo>
                <a:cubicBezTo>
                  <a:pt x="102" y="39"/>
                  <a:pt x="99" y="34"/>
                  <a:pt x="100" y="31"/>
                </a:cubicBezTo>
                <a:cubicBezTo>
                  <a:pt x="101" y="28"/>
                  <a:pt x="101" y="22"/>
                  <a:pt x="103" y="22"/>
                </a:cubicBezTo>
                <a:cubicBezTo>
                  <a:pt x="105" y="22"/>
                  <a:pt x="106" y="21"/>
                  <a:pt x="107" y="22"/>
                </a:cubicBezTo>
                <a:cubicBezTo>
                  <a:pt x="109" y="22"/>
                  <a:pt x="111" y="26"/>
                  <a:pt x="114" y="25"/>
                </a:cubicBezTo>
                <a:cubicBezTo>
                  <a:pt x="116" y="24"/>
                  <a:pt x="112" y="18"/>
                  <a:pt x="114" y="15"/>
                </a:cubicBezTo>
                <a:cubicBezTo>
                  <a:pt x="115" y="12"/>
                  <a:pt x="118" y="13"/>
                  <a:pt x="120" y="12"/>
                </a:cubicBezTo>
                <a:cubicBezTo>
                  <a:pt x="122" y="10"/>
                  <a:pt x="121" y="6"/>
                  <a:pt x="123" y="4"/>
                </a:cubicBezTo>
                <a:cubicBezTo>
                  <a:pt x="125" y="3"/>
                  <a:pt x="127" y="1"/>
                  <a:pt x="128" y="0"/>
                </a:cubicBezTo>
                <a:cubicBezTo>
                  <a:pt x="130" y="0"/>
                  <a:pt x="134" y="7"/>
                  <a:pt x="137" y="7"/>
                </a:cubicBezTo>
                <a:cubicBezTo>
                  <a:pt x="140" y="7"/>
                  <a:pt x="153" y="10"/>
                  <a:pt x="155" y="10"/>
                </a:cubicBezTo>
                <a:cubicBezTo>
                  <a:pt x="157" y="10"/>
                  <a:pt x="163" y="11"/>
                  <a:pt x="164" y="13"/>
                </a:cubicBezTo>
                <a:cubicBezTo>
                  <a:pt x="164" y="14"/>
                  <a:pt x="160" y="19"/>
                  <a:pt x="158" y="21"/>
                </a:cubicBezTo>
                <a:cubicBezTo>
                  <a:pt x="155" y="23"/>
                  <a:pt x="137" y="29"/>
                  <a:pt x="136" y="30"/>
                </a:cubicBezTo>
                <a:cubicBezTo>
                  <a:pt x="135" y="31"/>
                  <a:pt x="134" y="33"/>
                  <a:pt x="136" y="34"/>
                </a:cubicBezTo>
                <a:cubicBezTo>
                  <a:pt x="137" y="35"/>
                  <a:pt x="140" y="34"/>
                  <a:pt x="140" y="35"/>
                </a:cubicBezTo>
                <a:cubicBezTo>
                  <a:pt x="140" y="39"/>
                  <a:pt x="128" y="42"/>
                  <a:pt x="130" y="44"/>
                </a:cubicBezTo>
                <a:cubicBezTo>
                  <a:pt x="132" y="46"/>
                  <a:pt x="142" y="43"/>
                  <a:pt x="144" y="43"/>
                </a:cubicBezTo>
                <a:cubicBezTo>
                  <a:pt x="146" y="43"/>
                  <a:pt x="162" y="50"/>
                  <a:pt x="165" y="50"/>
                </a:cubicBezTo>
                <a:cubicBezTo>
                  <a:pt x="167" y="51"/>
                  <a:pt x="173" y="54"/>
                  <a:pt x="173" y="56"/>
                </a:cubicBezTo>
                <a:cubicBezTo>
                  <a:pt x="173" y="59"/>
                  <a:pt x="173" y="63"/>
                  <a:pt x="167" y="66"/>
                </a:cubicBezTo>
                <a:cubicBezTo>
                  <a:pt x="160" y="70"/>
                  <a:pt x="162" y="76"/>
                  <a:pt x="160" y="78"/>
                </a:cubicBezTo>
                <a:cubicBezTo>
                  <a:pt x="157" y="81"/>
                  <a:pt x="150" y="87"/>
                  <a:pt x="147" y="88"/>
                </a:cubicBezTo>
                <a:cubicBezTo>
                  <a:pt x="145" y="89"/>
                  <a:pt x="137" y="89"/>
                  <a:pt x="134" y="89"/>
                </a:cubicBezTo>
                <a:cubicBezTo>
                  <a:pt x="131" y="89"/>
                  <a:pt x="129" y="90"/>
                  <a:pt x="130" y="92"/>
                </a:cubicBezTo>
                <a:cubicBezTo>
                  <a:pt x="131" y="93"/>
                  <a:pt x="139" y="94"/>
                  <a:pt x="140" y="94"/>
                </a:cubicBezTo>
                <a:cubicBezTo>
                  <a:pt x="141" y="94"/>
                  <a:pt x="144" y="97"/>
                  <a:pt x="144" y="99"/>
                </a:cubicBezTo>
                <a:cubicBezTo>
                  <a:pt x="144" y="100"/>
                  <a:pt x="131" y="101"/>
                  <a:pt x="129" y="101"/>
                </a:cubicBezTo>
                <a:cubicBezTo>
                  <a:pt x="127" y="101"/>
                  <a:pt x="122" y="98"/>
                  <a:pt x="120" y="99"/>
                </a:cubicBezTo>
                <a:cubicBezTo>
                  <a:pt x="118" y="101"/>
                  <a:pt x="117" y="103"/>
                  <a:pt x="119" y="104"/>
                </a:cubicBezTo>
                <a:cubicBezTo>
                  <a:pt x="121" y="105"/>
                  <a:pt x="128" y="110"/>
                  <a:pt x="131" y="109"/>
                </a:cubicBezTo>
                <a:cubicBezTo>
                  <a:pt x="134" y="109"/>
                  <a:pt x="135" y="105"/>
                  <a:pt x="137" y="106"/>
                </a:cubicBezTo>
                <a:cubicBezTo>
                  <a:pt x="138" y="106"/>
                  <a:pt x="145" y="112"/>
                  <a:pt x="147" y="114"/>
                </a:cubicBezTo>
                <a:cubicBezTo>
                  <a:pt x="149" y="115"/>
                  <a:pt x="149" y="122"/>
                  <a:pt x="150" y="125"/>
                </a:cubicBezTo>
                <a:cubicBezTo>
                  <a:pt x="151" y="127"/>
                  <a:pt x="155" y="130"/>
                  <a:pt x="154" y="136"/>
                </a:cubicBezTo>
                <a:cubicBezTo>
                  <a:pt x="153" y="141"/>
                  <a:pt x="151" y="159"/>
                  <a:pt x="152" y="162"/>
                </a:cubicBezTo>
                <a:cubicBezTo>
                  <a:pt x="153" y="165"/>
                  <a:pt x="164" y="174"/>
                  <a:pt x="164" y="177"/>
                </a:cubicBezTo>
                <a:cubicBezTo>
                  <a:pt x="165" y="180"/>
                  <a:pt x="166" y="189"/>
                  <a:pt x="167" y="193"/>
                </a:cubicBezTo>
                <a:cubicBezTo>
                  <a:pt x="168" y="198"/>
                  <a:pt x="170" y="205"/>
                  <a:pt x="171" y="208"/>
                </a:cubicBezTo>
                <a:cubicBezTo>
                  <a:pt x="171" y="211"/>
                  <a:pt x="166" y="210"/>
                  <a:pt x="167" y="213"/>
                </a:cubicBezTo>
                <a:cubicBezTo>
                  <a:pt x="168" y="216"/>
                  <a:pt x="171" y="227"/>
                  <a:pt x="169" y="228"/>
                </a:cubicBezTo>
                <a:cubicBezTo>
                  <a:pt x="167" y="229"/>
                  <a:pt x="160" y="233"/>
                  <a:pt x="159" y="234"/>
                </a:cubicBezTo>
                <a:cubicBezTo>
                  <a:pt x="159" y="235"/>
                  <a:pt x="165" y="242"/>
                  <a:pt x="166" y="242"/>
                </a:cubicBezTo>
                <a:cubicBezTo>
                  <a:pt x="167" y="242"/>
                  <a:pt x="169" y="237"/>
                  <a:pt x="172" y="236"/>
                </a:cubicBezTo>
                <a:cubicBezTo>
                  <a:pt x="175" y="236"/>
                  <a:pt x="186" y="240"/>
                  <a:pt x="189" y="244"/>
                </a:cubicBezTo>
                <a:cubicBezTo>
                  <a:pt x="192" y="247"/>
                  <a:pt x="197" y="254"/>
                  <a:pt x="192" y="262"/>
                </a:cubicBezTo>
                <a:cubicBezTo>
                  <a:pt x="187" y="269"/>
                  <a:pt x="187" y="272"/>
                  <a:pt x="185" y="274"/>
                </a:cubicBezTo>
                <a:cubicBezTo>
                  <a:pt x="183" y="275"/>
                  <a:pt x="175" y="281"/>
                  <a:pt x="171" y="282"/>
                </a:cubicBezTo>
                <a:cubicBezTo>
                  <a:pt x="167" y="284"/>
                  <a:pt x="168" y="288"/>
                  <a:pt x="166" y="288"/>
                </a:cubicBezTo>
                <a:cubicBezTo>
                  <a:pt x="163" y="288"/>
                  <a:pt x="155" y="286"/>
                  <a:pt x="155" y="289"/>
                </a:cubicBezTo>
                <a:cubicBezTo>
                  <a:pt x="155" y="292"/>
                  <a:pt x="156" y="293"/>
                  <a:pt x="159" y="294"/>
                </a:cubicBezTo>
                <a:cubicBezTo>
                  <a:pt x="162" y="295"/>
                  <a:pt x="170" y="296"/>
                  <a:pt x="171" y="296"/>
                </a:cubicBezTo>
                <a:cubicBezTo>
                  <a:pt x="173" y="296"/>
                  <a:pt x="179" y="296"/>
                  <a:pt x="178" y="298"/>
                </a:cubicBezTo>
                <a:cubicBezTo>
                  <a:pt x="178" y="300"/>
                  <a:pt x="176" y="303"/>
                  <a:pt x="174" y="305"/>
                </a:cubicBezTo>
                <a:cubicBezTo>
                  <a:pt x="171" y="307"/>
                  <a:pt x="165" y="309"/>
                  <a:pt x="161" y="311"/>
                </a:cubicBezTo>
                <a:cubicBezTo>
                  <a:pt x="157" y="312"/>
                  <a:pt x="150" y="313"/>
                  <a:pt x="146" y="314"/>
                </a:cubicBezTo>
                <a:cubicBezTo>
                  <a:pt x="142" y="316"/>
                  <a:pt x="140" y="313"/>
                  <a:pt x="138" y="311"/>
                </a:cubicBezTo>
                <a:cubicBezTo>
                  <a:pt x="137" y="308"/>
                  <a:pt x="132" y="308"/>
                  <a:pt x="132" y="308"/>
                </a:cubicBezTo>
                <a:cubicBezTo>
                  <a:pt x="124" y="306"/>
                  <a:pt x="123" y="311"/>
                  <a:pt x="120" y="310"/>
                </a:cubicBezTo>
                <a:cubicBezTo>
                  <a:pt x="118" y="310"/>
                  <a:pt x="117" y="306"/>
                  <a:pt x="110" y="305"/>
                </a:cubicBezTo>
                <a:cubicBezTo>
                  <a:pt x="107" y="304"/>
                  <a:pt x="97" y="302"/>
                  <a:pt x="95" y="302"/>
                </a:cubicBezTo>
                <a:cubicBezTo>
                  <a:pt x="94" y="302"/>
                  <a:pt x="94" y="309"/>
                  <a:pt x="89" y="307"/>
                </a:cubicBezTo>
                <a:cubicBezTo>
                  <a:pt x="83" y="306"/>
                  <a:pt x="81" y="302"/>
                  <a:pt x="79" y="300"/>
                </a:cubicBezTo>
                <a:cubicBezTo>
                  <a:pt x="77" y="298"/>
                  <a:pt x="73" y="295"/>
                  <a:pt x="69" y="294"/>
                </a:cubicBezTo>
                <a:cubicBezTo>
                  <a:pt x="64" y="294"/>
                  <a:pt x="60" y="294"/>
                  <a:pt x="57" y="299"/>
                </a:cubicBezTo>
                <a:cubicBezTo>
                  <a:pt x="54" y="303"/>
                  <a:pt x="53" y="307"/>
                  <a:pt x="50" y="307"/>
                </a:cubicBezTo>
                <a:cubicBezTo>
                  <a:pt x="46" y="307"/>
                  <a:pt x="46" y="306"/>
                  <a:pt x="44" y="303"/>
                </a:cubicBezTo>
                <a:cubicBezTo>
                  <a:pt x="42" y="300"/>
                  <a:pt x="40" y="300"/>
                  <a:pt x="38" y="298"/>
                </a:cubicBezTo>
                <a:cubicBezTo>
                  <a:pt x="35" y="296"/>
                  <a:pt x="31" y="296"/>
                  <a:pt x="28" y="296"/>
                </a:cubicBezTo>
                <a:cubicBezTo>
                  <a:pt x="25" y="297"/>
                  <a:pt x="19" y="302"/>
                  <a:pt x="17" y="303"/>
                </a:cubicBezTo>
                <a:cubicBezTo>
                  <a:pt x="14" y="304"/>
                  <a:pt x="13" y="307"/>
                  <a:pt x="11" y="305"/>
                </a:cubicBezTo>
                <a:cubicBezTo>
                  <a:pt x="9" y="303"/>
                  <a:pt x="11" y="301"/>
                  <a:pt x="8" y="300"/>
                </a:cubicBezTo>
                <a:cubicBezTo>
                  <a:pt x="6" y="299"/>
                  <a:pt x="2" y="300"/>
                  <a:pt x="2" y="298"/>
                </a:cubicBezTo>
                <a:cubicBezTo>
                  <a:pt x="1" y="296"/>
                  <a:pt x="0" y="291"/>
                  <a:pt x="3" y="291"/>
                </a:cubicBezTo>
                <a:cubicBezTo>
                  <a:pt x="6" y="290"/>
                  <a:pt x="9" y="291"/>
                  <a:pt x="13" y="290"/>
                </a:cubicBezTo>
                <a:cubicBezTo>
                  <a:pt x="17" y="288"/>
                  <a:pt x="28" y="283"/>
                  <a:pt x="31" y="281"/>
                </a:cubicBezTo>
                <a:cubicBezTo>
                  <a:pt x="35" y="279"/>
                  <a:pt x="37" y="272"/>
                  <a:pt x="39" y="271"/>
                </a:cubicBezTo>
                <a:cubicBezTo>
                  <a:pt x="41" y="269"/>
                  <a:pt x="41" y="274"/>
                  <a:pt x="44" y="274"/>
                </a:cubicBezTo>
                <a:cubicBezTo>
                  <a:pt x="47" y="274"/>
                  <a:pt x="48" y="273"/>
                  <a:pt x="49" y="272"/>
                </a:cubicBezTo>
                <a:cubicBezTo>
                  <a:pt x="50" y="271"/>
                  <a:pt x="48" y="267"/>
                  <a:pt x="50" y="267"/>
                </a:cubicBezTo>
                <a:cubicBezTo>
                  <a:pt x="52" y="267"/>
                  <a:pt x="60" y="271"/>
                  <a:pt x="62" y="272"/>
                </a:cubicBezTo>
                <a:cubicBezTo>
                  <a:pt x="64" y="273"/>
                  <a:pt x="73" y="277"/>
                  <a:pt x="76" y="276"/>
                </a:cubicBezTo>
                <a:cubicBezTo>
                  <a:pt x="78" y="275"/>
                  <a:pt x="88" y="266"/>
                  <a:pt x="90" y="265"/>
                </a:cubicBezTo>
                <a:cubicBezTo>
                  <a:pt x="92" y="264"/>
                  <a:pt x="95" y="262"/>
                  <a:pt x="96" y="261"/>
                </a:cubicBezTo>
                <a:cubicBezTo>
                  <a:pt x="97" y="260"/>
                  <a:pt x="94" y="259"/>
                  <a:pt x="92" y="259"/>
                </a:cubicBezTo>
                <a:cubicBezTo>
                  <a:pt x="89" y="259"/>
                  <a:pt x="76" y="264"/>
                  <a:pt x="75" y="266"/>
                </a:cubicBezTo>
                <a:cubicBezTo>
                  <a:pt x="74" y="268"/>
                  <a:pt x="67" y="266"/>
                  <a:pt x="65" y="263"/>
                </a:cubicBezTo>
                <a:cubicBezTo>
                  <a:pt x="62" y="260"/>
                  <a:pt x="67" y="256"/>
                  <a:pt x="63" y="255"/>
                </a:cubicBezTo>
                <a:cubicBezTo>
                  <a:pt x="59" y="254"/>
                  <a:pt x="55" y="257"/>
                  <a:pt x="53" y="255"/>
                </a:cubicBezTo>
                <a:cubicBezTo>
                  <a:pt x="51" y="252"/>
                  <a:pt x="54" y="247"/>
                  <a:pt x="51" y="246"/>
                </a:cubicBezTo>
                <a:cubicBezTo>
                  <a:pt x="48" y="245"/>
                  <a:pt x="38" y="249"/>
                  <a:pt x="35" y="248"/>
                </a:cubicBezTo>
                <a:cubicBezTo>
                  <a:pt x="33" y="246"/>
                  <a:pt x="37" y="241"/>
                  <a:pt x="36" y="240"/>
                </a:cubicBezTo>
                <a:cubicBezTo>
                  <a:pt x="36" y="239"/>
                  <a:pt x="31" y="238"/>
                  <a:pt x="31" y="236"/>
                </a:cubicBezTo>
                <a:cubicBezTo>
                  <a:pt x="31" y="234"/>
                  <a:pt x="35" y="232"/>
                  <a:pt x="37" y="232"/>
                </a:cubicBezTo>
                <a:cubicBezTo>
                  <a:pt x="39" y="231"/>
                  <a:pt x="58" y="231"/>
                  <a:pt x="62" y="228"/>
                </a:cubicBezTo>
                <a:cubicBezTo>
                  <a:pt x="66" y="226"/>
                  <a:pt x="68" y="224"/>
                  <a:pt x="69" y="220"/>
                </a:cubicBezTo>
                <a:cubicBezTo>
                  <a:pt x="70" y="216"/>
                  <a:pt x="73" y="211"/>
                  <a:pt x="70" y="209"/>
                </a:cubicBezTo>
                <a:cubicBezTo>
                  <a:pt x="68" y="207"/>
                  <a:pt x="56" y="211"/>
                  <a:pt x="55" y="209"/>
                </a:cubicBezTo>
                <a:cubicBezTo>
                  <a:pt x="53" y="204"/>
                  <a:pt x="69" y="200"/>
                  <a:pt x="68" y="199"/>
                </a:cubicBezTo>
                <a:cubicBezTo>
                  <a:pt x="67" y="198"/>
                  <a:pt x="65" y="190"/>
                  <a:pt x="65" y="188"/>
                </a:cubicBezTo>
                <a:cubicBezTo>
                  <a:pt x="66" y="185"/>
                  <a:pt x="70" y="185"/>
                  <a:pt x="73" y="185"/>
                </a:cubicBezTo>
                <a:cubicBezTo>
                  <a:pt x="75" y="186"/>
                  <a:pt x="76" y="195"/>
                  <a:pt x="78" y="195"/>
                </a:cubicBezTo>
                <a:cubicBezTo>
                  <a:pt x="80" y="195"/>
                  <a:pt x="87" y="197"/>
                  <a:pt x="89" y="197"/>
                </a:cubicBezTo>
                <a:cubicBezTo>
                  <a:pt x="93" y="197"/>
                  <a:pt x="95" y="204"/>
                  <a:pt x="98" y="204"/>
                </a:cubicBezTo>
                <a:cubicBezTo>
                  <a:pt x="101" y="203"/>
                  <a:pt x="99" y="194"/>
                  <a:pt x="101" y="192"/>
                </a:cubicBezTo>
                <a:cubicBezTo>
                  <a:pt x="103" y="190"/>
                  <a:pt x="105" y="182"/>
                  <a:pt x="107" y="181"/>
                </a:cubicBezTo>
                <a:cubicBezTo>
                  <a:pt x="109" y="179"/>
                  <a:pt x="112" y="176"/>
                  <a:pt x="113" y="175"/>
                </a:cubicBezTo>
                <a:cubicBezTo>
                  <a:pt x="114" y="174"/>
                  <a:pt x="111" y="169"/>
                  <a:pt x="111" y="168"/>
                </a:cubicBezTo>
                <a:cubicBezTo>
                  <a:pt x="110" y="167"/>
                  <a:pt x="103" y="176"/>
                  <a:pt x="103" y="172"/>
                </a:cubicBezTo>
                <a:cubicBezTo>
                  <a:pt x="103" y="168"/>
                  <a:pt x="100" y="156"/>
                  <a:pt x="101" y="154"/>
                </a:cubicBezTo>
                <a:cubicBezTo>
                  <a:pt x="102" y="152"/>
                  <a:pt x="110" y="145"/>
                  <a:pt x="113" y="144"/>
                </a:cubicBezTo>
                <a:cubicBezTo>
                  <a:pt x="116" y="143"/>
                  <a:pt x="117" y="145"/>
                  <a:pt x="118" y="142"/>
                </a:cubicBezTo>
                <a:cubicBezTo>
                  <a:pt x="118" y="140"/>
                  <a:pt x="109" y="136"/>
                  <a:pt x="108" y="136"/>
                </a:cubicBezTo>
                <a:cubicBezTo>
                  <a:pt x="107" y="136"/>
                  <a:pt x="105" y="142"/>
                  <a:pt x="103" y="142"/>
                </a:cubicBezTo>
                <a:cubicBezTo>
                  <a:pt x="102" y="142"/>
                  <a:pt x="96" y="143"/>
                  <a:pt x="95" y="140"/>
                </a:cubicBezTo>
                <a:cubicBezTo>
                  <a:pt x="94" y="137"/>
                  <a:pt x="92" y="134"/>
                  <a:pt x="91" y="134"/>
                </a:cubicBezTo>
                <a:cubicBezTo>
                  <a:pt x="90" y="134"/>
                  <a:pt x="89" y="144"/>
                  <a:pt x="88" y="144"/>
                </a:cubicBezTo>
                <a:cubicBezTo>
                  <a:pt x="86" y="144"/>
                  <a:pt x="83" y="134"/>
                  <a:pt x="82" y="134"/>
                </a:cubicBezTo>
                <a:cubicBezTo>
                  <a:pt x="78" y="133"/>
                  <a:pt x="79" y="143"/>
                  <a:pt x="77" y="142"/>
                </a:cubicBezTo>
                <a:cubicBezTo>
                  <a:pt x="75" y="141"/>
                  <a:pt x="73" y="131"/>
                  <a:pt x="74" y="128"/>
                </a:cubicBezTo>
                <a:cubicBezTo>
                  <a:pt x="75" y="125"/>
                  <a:pt x="78" y="126"/>
                  <a:pt x="82" y="123"/>
                </a:cubicBezTo>
                <a:cubicBezTo>
                  <a:pt x="86" y="119"/>
                  <a:pt x="94" y="115"/>
                  <a:pt x="94" y="111"/>
                </a:cubicBezTo>
                <a:cubicBezTo>
                  <a:pt x="94" y="107"/>
                  <a:pt x="92" y="104"/>
                  <a:pt x="93" y="102"/>
                </a:cubicBezTo>
                <a:cubicBezTo>
                  <a:pt x="94" y="100"/>
                  <a:pt x="96" y="97"/>
                  <a:pt x="97" y="95"/>
                </a:cubicBezTo>
                <a:cubicBezTo>
                  <a:pt x="97" y="93"/>
                  <a:pt x="96" y="91"/>
                  <a:pt x="92" y="93"/>
                </a:cubicBezTo>
                <a:cubicBezTo>
                  <a:pt x="89" y="95"/>
                  <a:pt x="84" y="99"/>
                  <a:pt x="82" y="100"/>
                </a:cubicBezTo>
                <a:cubicBezTo>
                  <a:pt x="81" y="102"/>
                  <a:pt x="76" y="112"/>
                  <a:pt x="75" y="113"/>
                </a:cubicBezTo>
                <a:cubicBezTo>
                  <a:pt x="73" y="113"/>
                  <a:pt x="69" y="115"/>
                  <a:pt x="68" y="112"/>
                </a:cubicBezTo>
                <a:cubicBezTo>
                  <a:pt x="68" y="109"/>
                  <a:pt x="71" y="106"/>
                  <a:pt x="73" y="103"/>
                </a:cubicBezTo>
                <a:cubicBezTo>
                  <a:pt x="75" y="100"/>
                  <a:pt x="81" y="87"/>
                  <a:pt x="83" y="85"/>
                </a:cubicBezTo>
                <a:cubicBezTo>
                  <a:pt x="84" y="83"/>
                  <a:pt x="91" y="74"/>
                  <a:pt x="93" y="72"/>
                </a:cubicBezTo>
                <a:cubicBezTo>
                  <a:pt x="95" y="70"/>
                  <a:pt x="98" y="68"/>
                  <a:pt x="98" y="68"/>
                </a:cubicBezTo>
                <a:cubicBezTo>
                  <a:pt x="96" y="64"/>
                  <a:pt x="96" y="64"/>
                  <a:pt x="96" y="64"/>
                </a:cubicBezTo>
                <a:cubicBezTo>
                  <a:pt x="96" y="64"/>
                  <a:pt x="87" y="69"/>
                  <a:pt x="86" y="70"/>
                </a:cubicBezTo>
                <a:cubicBezTo>
                  <a:pt x="85" y="72"/>
                  <a:pt x="81" y="74"/>
                  <a:pt x="79" y="74"/>
                </a:cubicBezTo>
                <a:cubicBezTo>
                  <a:pt x="76" y="74"/>
                  <a:pt x="72" y="75"/>
                  <a:pt x="70" y="73"/>
                </a:cubicBezTo>
                <a:cubicBezTo>
                  <a:pt x="68" y="70"/>
                  <a:pt x="69" y="69"/>
                  <a:pt x="71" y="69"/>
                </a:cubicBezTo>
                <a:cubicBezTo>
                  <a:pt x="73" y="69"/>
                  <a:pt x="76" y="69"/>
                  <a:pt x="77" y="67"/>
                </a:cubicBezTo>
                <a:cubicBezTo>
                  <a:pt x="78" y="65"/>
                  <a:pt x="74" y="62"/>
                  <a:pt x="77" y="61"/>
                </a:cubicBezTo>
                <a:cubicBezTo>
                  <a:pt x="80" y="59"/>
                  <a:pt x="85" y="59"/>
                  <a:pt x="88" y="57"/>
                </a:cubicBezTo>
                <a:cubicBezTo>
                  <a:pt x="90" y="55"/>
                  <a:pt x="88" y="52"/>
                  <a:pt x="91" y="50"/>
                </a:cubicBezTo>
                <a:cubicBezTo>
                  <a:pt x="93" y="49"/>
                  <a:pt x="95" y="46"/>
                  <a:pt x="90" y="45"/>
                </a:cubicBezTo>
                <a:cubicBezTo>
                  <a:pt x="86" y="44"/>
                  <a:pt x="83" y="44"/>
                  <a:pt x="82" y="41"/>
                </a:cubicBezTo>
                <a:cubicBezTo>
                  <a:pt x="82" y="38"/>
                  <a:pt x="76" y="31"/>
                  <a:pt x="78" y="29"/>
                </a:cubicBezTo>
                <a:cubicBezTo>
                  <a:pt x="80" y="27"/>
                  <a:pt x="82" y="27"/>
                  <a:pt x="84" y="26"/>
                </a:cubicBezTo>
                <a:cubicBezTo>
                  <a:pt x="86" y="26"/>
                  <a:pt x="86" y="32"/>
                  <a:pt x="88" y="31"/>
                </a:cubicBezTo>
                <a:cubicBezTo>
                  <a:pt x="90" y="29"/>
                  <a:pt x="90" y="24"/>
                  <a:pt x="91" y="23"/>
                </a:cubicBezTo>
                <a:cubicBezTo>
                  <a:pt x="92" y="23"/>
                  <a:pt x="94" y="22"/>
                  <a:pt x="94" y="23"/>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83" name="Freeform 179"/>
          <p:cNvSpPr>
            <a:spLocks/>
          </p:cNvSpPr>
          <p:nvPr>
            <p:custDataLst>
              <p:tags r:id="rId62"/>
            </p:custDataLst>
          </p:nvPr>
        </p:nvSpPr>
        <p:spPr bwMode="gray">
          <a:xfrm>
            <a:off x="2076286" y="2131198"/>
            <a:ext cx="86219" cy="86866"/>
          </a:xfrm>
          <a:custGeom>
            <a:avLst/>
            <a:gdLst>
              <a:gd name="T0" fmla="*/ 23 w 24"/>
              <a:gd name="T1" fmla="*/ 8 h 32"/>
              <a:gd name="T2" fmla="*/ 15 w 24"/>
              <a:gd name="T3" fmla="*/ 19 h 32"/>
              <a:gd name="T4" fmla="*/ 11 w 24"/>
              <a:gd name="T5" fmla="*/ 26 h 32"/>
              <a:gd name="T6" fmla="*/ 2 w 24"/>
              <a:gd name="T7" fmla="*/ 30 h 32"/>
              <a:gd name="T8" fmla="*/ 8 w 24"/>
              <a:gd name="T9" fmla="*/ 18 h 32"/>
              <a:gd name="T10" fmla="*/ 12 w 24"/>
              <a:gd name="T11" fmla="*/ 7 h 32"/>
              <a:gd name="T12" fmla="*/ 12 w 24"/>
              <a:gd name="T13" fmla="*/ 2 h 32"/>
              <a:gd name="T14" fmla="*/ 17 w 24"/>
              <a:gd name="T15" fmla="*/ 0 h 32"/>
              <a:gd name="T16" fmla="*/ 23 w 24"/>
              <a:gd name="T17" fmla="*/ 5 h 32"/>
              <a:gd name="T18" fmla="*/ 23 w 24"/>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32">
                <a:moveTo>
                  <a:pt x="23" y="8"/>
                </a:moveTo>
                <a:cubicBezTo>
                  <a:pt x="21" y="9"/>
                  <a:pt x="15" y="17"/>
                  <a:pt x="15" y="19"/>
                </a:cubicBezTo>
                <a:cubicBezTo>
                  <a:pt x="14" y="21"/>
                  <a:pt x="12" y="25"/>
                  <a:pt x="11" y="26"/>
                </a:cubicBezTo>
                <a:cubicBezTo>
                  <a:pt x="10" y="27"/>
                  <a:pt x="3" y="32"/>
                  <a:pt x="2" y="30"/>
                </a:cubicBezTo>
                <a:cubicBezTo>
                  <a:pt x="0" y="28"/>
                  <a:pt x="7" y="21"/>
                  <a:pt x="8" y="18"/>
                </a:cubicBezTo>
                <a:cubicBezTo>
                  <a:pt x="9" y="16"/>
                  <a:pt x="12" y="9"/>
                  <a:pt x="12" y="7"/>
                </a:cubicBezTo>
                <a:cubicBezTo>
                  <a:pt x="11" y="5"/>
                  <a:pt x="10" y="3"/>
                  <a:pt x="12" y="2"/>
                </a:cubicBezTo>
                <a:cubicBezTo>
                  <a:pt x="13" y="0"/>
                  <a:pt x="16" y="0"/>
                  <a:pt x="17" y="0"/>
                </a:cubicBezTo>
                <a:cubicBezTo>
                  <a:pt x="18" y="0"/>
                  <a:pt x="23" y="3"/>
                  <a:pt x="23" y="5"/>
                </a:cubicBezTo>
                <a:cubicBezTo>
                  <a:pt x="24" y="6"/>
                  <a:pt x="23" y="8"/>
                  <a:pt x="23" y="8"/>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84" name="Freeform 180"/>
          <p:cNvSpPr>
            <a:spLocks/>
          </p:cNvSpPr>
          <p:nvPr>
            <p:custDataLst>
              <p:tags r:id="rId63"/>
            </p:custDataLst>
          </p:nvPr>
        </p:nvSpPr>
        <p:spPr bwMode="gray">
          <a:xfrm>
            <a:off x="1942166" y="2382931"/>
            <a:ext cx="174835" cy="122321"/>
          </a:xfrm>
          <a:custGeom>
            <a:avLst/>
            <a:gdLst>
              <a:gd name="T0" fmla="*/ 35 w 48"/>
              <a:gd name="T1" fmla="*/ 40 h 46"/>
              <a:gd name="T2" fmla="*/ 31 w 48"/>
              <a:gd name="T3" fmla="*/ 46 h 46"/>
              <a:gd name="T4" fmla="*/ 29 w 48"/>
              <a:gd name="T5" fmla="*/ 46 h 46"/>
              <a:gd name="T6" fmla="*/ 19 w 48"/>
              <a:gd name="T7" fmla="*/ 30 h 46"/>
              <a:gd name="T8" fmla="*/ 6 w 48"/>
              <a:gd name="T9" fmla="*/ 35 h 46"/>
              <a:gd name="T10" fmla="*/ 0 w 48"/>
              <a:gd name="T11" fmla="*/ 26 h 46"/>
              <a:gd name="T12" fmla="*/ 12 w 48"/>
              <a:gd name="T13" fmla="*/ 13 h 46"/>
              <a:gd name="T14" fmla="*/ 18 w 48"/>
              <a:gd name="T15" fmla="*/ 4 h 46"/>
              <a:gd name="T16" fmla="*/ 38 w 48"/>
              <a:gd name="T17" fmla="*/ 1 h 46"/>
              <a:gd name="T18" fmla="*/ 44 w 48"/>
              <a:gd name="T19" fmla="*/ 8 h 46"/>
              <a:gd name="T20" fmla="*/ 46 w 48"/>
              <a:gd name="T21" fmla="*/ 20 h 46"/>
              <a:gd name="T22" fmla="*/ 39 w 48"/>
              <a:gd name="T23" fmla="*/ 26 h 46"/>
              <a:gd name="T24" fmla="*/ 47 w 48"/>
              <a:gd name="T25" fmla="*/ 28 h 46"/>
              <a:gd name="T26" fmla="*/ 44 w 48"/>
              <a:gd name="T27" fmla="*/ 40 h 46"/>
              <a:gd name="T28" fmla="*/ 35 w 48"/>
              <a:gd name="T29"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6">
                <a:moveTo>
                  <a:pt x="35" y="40"/>
                </a:moveTo>
                <a:cubicBezTo>
                  <a:pt x="32" y="41"/>
                  <a:pt x="35" y="46"/>
                  <a:pt x="31" y="46"/>
                </a:cubicBezTo>
                <a:cubicBezTo>
                  <a:pt x="30" y="46"/>
                  <a:pt x="29" y="46"/>
                  <a:pt x="29" y="46"/>
                </a:cubicBezTo>
                <a:cubicBezTo>
                  <a:pt x="25" y="40"/>
                  <a:pt x="20" y="32"/>
                  <a:pt x="19" y="30"/>
                </a:cubicBezTo>
                <a:cubicBezTo>
                  <a:pt x="18" y="28"/>
                  <a:pt x="9" y="35"/>
                  <a:pt x="6" y="35"/>
                </a:cubicBezTo>
                <a:cubicBezTo>
                  <a:pt x="4" y="35"/>
                  <a:pt x="0" y="29"/>
                  <a:pt x="0" y="26"/>
                </a:cubicBezTo>
                <a:cubicBezTo>
                  <a:pt x="0" y="22"/>
                  <a:pt x="10" y="15"/>
                  <a:pt x="12" y="13"/>
                </a:cubicBezTo>
                <a:cubicBezTo>
                  <a:pt x="14" y="12"/>
                  <a:pt x="16" y="7"/>
                  <a:pt x="18" y="4"/>
                </a:cubicBezTo>
                <a:cubicBezTo>
                  <a:pt x="25" y="5"/>
                  <a:pt x="36" y="0"/>
                  <a:pt x="38" y="1"/>
                </a:cubicBezTo>
                <a:cubicBezTo>
                  <a:pt x="40" y="2"/>
                  <a:pt x="44" y="5"/>
                  <a:pt x="44" y="8"/>
                </a:cubicBezTo>
                <a:cubicBezTo>
                  <a:pt x="44" y="10"/>
                  <a:pt x="46" y="18"/>
                  <a:pt x="46" y="20"/>
                </a:cubicBezTo>
                <a:cubicBezTo>
                  <a:pt x="46" y="21"/>
                  <a:pt x="39" y="23"/>
                  <a:pt x="39" y="26"/>
                </a:cubicBezTo>
                <a:cubicBezTo>
                  <a:pt x="39" y="29"/>
                  <a:pt x="46" y="26"/>
                  <a:pt x="47" y="28"/>
                </a:cubicBezTo>
                <a:cubicBezTo>
                  <a:pt x="48" y="30"/>
                  <a:pt x="48" y="39"/>
                  <a:pt x="44" y="40"/>
                </a:cubicBezTo>
                <a:cubicBezTo>
                  <a:pt x="40" y="42"/>
                  <a:pt x="38" y="38"/>
                  <a:pt x="35" y="4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85" name="Freeform 181"/>
          <p:cNvSpPr>
            <a:spLocks/>
          </p:cNvSpPr>
          <p:nvPr>
            <p:custDataLst>
              <p:tags r:id="rId64"/>
            </p:custDataLst>
          </p:nvPr>
        </p:nvSpPr>
        <p:spPr bwMode="gray">
          <a:xfrm>
            <a:off x="2464275" y="2072699"/>
            <a:ext cx="40714" cy="42547"/>
          </a:xfrm>
          <a:custGeom>
            <a:avLst/>
            <a:gdLst>
              <a:gd name="T0" fmla="*/ 2 w 12"/>
              <a:gd name="T1" fmla="*/ 10 h 16"/>
              <a:gd name="T2" fmla="*/ 0 w 12"/>
              <a:gd name="T3" fmla="*/ 6 h 16"/>
              <a:gd name="T4" fmla="*/ 3 w 12"/>
              <a:gd name="T5" fmla="*/ 1 h 16"/>
              <a:gd name="T6" fmla="*/ 9 w 12"/>
              <a:gd name="T7" fmla="*/ 1 h 16"/>
              <a:gd name="T8" fmla="*/ 8 w 12"/>
              <a:gd name="T9" fmla="*/ 7 h 16"/>
              <a:gd name="T10" fmla="*/ 12 w 12"/>
              <a:gd name="T11" fmla="*/ 11 h 16"/>
              <a:gd name="T12" fmla="*/ 8 w 12"/>
              <a:gd name="T13" fmla="*/ 16 h 16"/>
              <a:gd name="T14" fmla="*/ 5 w 12"/>
              <a:gd name="T15" fmla="*/ 12 h 16"/>
              <a:gd name="T16" fmla="*/ 2 w 12"/>
              <a:gd name="T1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6">
                <a:moveTo>
                  <a:pt x="2" y="10"/>
                </a:moveTo>
                <a:cubicBezTo>
                  <a:pt x="1" y="9"/>
                  <a:pt x="0" y="9"/>
                  <a:pt x="0" y="6"/>
                </a:cubicBezTo>
                <a:cubicBezTo>
                  <a:pt x="1" y="4"/>
                  <a:pt x="1" y="1"/>
                  <a:pt x="3" y="1"/>
                </a:cubicBezTo>
                <a:cubicBezTo>
                  <a:pt x="5" y="0"/>
                  <a:pt x="8" y="0"/>
                  <a:pt x="9" y="1"/>
                </a:cubicBezTo>
                <a:cubicBezTo>
                  <a:pt x="10" y="3"/>
                  <a:pt x="7" y="5"/>
                  <a:pt x="8" y="7"/>
                </a:cubicBezTo>
                <a:cubicBezTo>
                  <a:pt x="9" y="8"/>
                  <a:pt x="12" y="10"/>
                  <a:pt x="12" y="11"/>
                </a:cubicBezTo>
                <a:cubicBezTo>
                  <a:pt x="12" y="13"/>
                  <a:pt x="9" y="16"/>
                  <a:pt x="8" y="16"/>
                </a:cubicBezTo>
                <a:cubicBezTo>
                  <a:pt x="7" y="15"/>
                  <a:pt x="6" y="12"/>
                  <a:pt x="5" y="12"/>
                </a:cubicBezTo>
                <a:cubicBezTo>
                  <a:pt x="4" y="12"/>
                  <a:pt x="3" y="11"/>
                  <a:pt x="2" y="1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86" name="Freeform 182"/>
          <p:cNvSpPr>
            <a:spLocks/>
          </p:cNvSpPr>
          <p:nvPr>
            <p:custDataLst>
              <p:tags r:id="rId65"/>
            </p:custDataLst>
          </p:nvPr>
        </p:nvSpPr>
        <p:spPr bwMode="gray">
          <a:xfrm>
            <a:off x="2622346" y="1943286"/>
            <a:ext cx="91010" cy="79774"/>
          </a:xfrm>
          <a:custGeom>
            <a:avLst/>
            <a:gdLst>
              <a:gd name="T0" fmla="*/ 3 w 25"/>
              <a:gd name="T1" fmla="*/ 23 h 29"/>
              <a:gd name="T2" fmla="*/ 1 w 25"/>
              <a:gd name="T3" fmla="*/ 18 h 29"/>
              <a:gd name="T4" fmla="*/ 6 w 25"/>
              <a:gd name="T5" fmla="*/ 16 h 29"/>
              <a:gd name="T6" fmla="*/ 6 w 25"/>
              <a:gd name="T7" fmla="*/ 12 h 29"/>
              <a:gd name="T8" fmla="*/ 8 w 25"/>
              <a:gd name="T9" fmla="*/ 9 h 29"/>
              <a:gd name="T10" fmla="*/ 12 w 25"/>
              <a:gd name="T11" fmla="*/ 7 h 29"/>
              <a:gd name="T12" fmla="*/ 14 w 25"/>
              <a:gd name="T13" fmla="*/ 12 h 29"/>
              <a:gd name="T14" fmla="*/ 18 w 25"/>
              <a:gd name="T15" fmla="*/ 4 h 29"/>
              <a:gd name="T16" fmla="*/ 24 w 25"/>
              <a:gd name="T17" fmla="*/ 3 h 29"/>
              <a:gd name="T18" fmla="*/ 22 w 25"/>
              <a:gd name="T19" fmla="*/ 11 h 29"/>
              <a:gd name="T20" fmla="*/ 13 w 25"/>
              <a:gd name="T21" fmla="*/ 20 h 29"/>
              <a:gd name="T22" fmla="*/ 10 w 25"/>
              <a:gd name="T23" fmla="*/ 28 h 29"/>
              <a:gd name="T24" fmla="*/ 6 w 25"/>
              <a:gd name="T25" fmla="*/ 26 h 29"/>
              <a:gd name="T26" fmla="*/ 7 w 25"/>
              <a:gd name="T27" fmla="*/ 22 h 29"/>
              <a:gd name="T28" fmla="*/ 3 w 25"/>
              <a:gd name="T29"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29">
                <a:moveTo>
                  <a:pt x="3" y="23"/>
                </a:moveTo>
                <a:cubicBezTo>
                  <a:pt x="1" y="21"/>
                  <a:pt x="0" y="19"/>
                  <a:pt x="1" y="18"/>
                </a:cubicBezTo>
                <a:cubicBezTo>
                  <a:pt x="2" y="16"/>
                  <a:pt x="5" y="17"/>
                  <a:pt x="6" y="16"/>
                </a:cubicBezTo>
                <a:cubicBezTo>
                  <a:pt x="7" y="15"/>
                  <a:pt x="8" y="13"/>
                  <a:pt x="6" y="12"/>
                </a:cubicBezTo>
                <a:cubicBezTo>
                  <a:pt x="5" y="11"/>
                  <a:pt x="5" y="9"/>
                  <a:pt x="8" y="9"/>
                </a:cubicBezTo>
                <a:cubicBezTo>
                  <a:pt x="10" y="8"/>
                  <a:pt x="11" y="6"/>
                  <a:pt x="12" y="7"/>
                </a:cubicBezTo>
                <a:cubicBezTo>
                  <a:pt x="13" y="8"/>
                  <a:pt x="14" y="13"/>
                  <a:pt x="14" y="12"/>
                </a:cubicBezTo>
                <a:cubicBezTo>
                  <a:pt x="15" y="10"/>
                  <a:pt x="16" y="6"/>
                  <a:pt x="18" y="4"/>
                </a:cubicBezTo>
                <a:cubicBezTo>
                  <a:pt x="20" y="2"/>
                  <a:pt x="23" y="0"/>
                  <a:pt x="24" y="3"/>
                </a:cubicBezTo>
                <a:cubicBezTo>
                  <a:pt x="25" y="5"/>
                  <a:pt x="23" y="9"/>
                  <a:pt x="22" y="11"/>
                </a:cubicBezTo>
                <a:cubicBezTo>
                  <a:pt x="21" y="12"/>
                  <a:pt x="14" y="19"/>
                  <a:pt x="13" y="20"/>
                </a:cubicBezTo>
                <a:cubicBezTo>
                  <a:pt x="12" y="22"/>
                  <a:pt x="12" y="26"/>
                  <a:pt x="10" y="28"/>
                </a:cubicBezTo>
                <a:cubicBezTo>
                  <a:pt x="8" y="29"/>
                  <a:pt x="5" y="28"/>
                  <a:pt x="6" y="26"/>
                </a:cubicBezTo>
                <a:cubicBezTo>
                  <a:pt x="7" y="25"/>
                  <a:pt x="8" y="23"/>
                  <a:pt x="7" y="22"/>
                </a:cubicBezTo>
                <a:cubicBezTo>
                  <a:pt x="6" y="22"/>
                  <a:pt x="3" y="23"/>
                  <a:pt x="3" y="23"/>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87" name="Freeform 183"/>
          <p:cNvSpPr>
            <a:spLocks/>
          </p:cNvSpPr>
          <p:nvPr>
            <p:custDataLst>
              <p:tags r:id="rId66"/>
            </p:custDataLst>
          </p:nvPr>
        </p:nvSpPr>
        <p:spPr bwMode="gray">
          <a:xfrm>
            <a:off x="4741922" y="4352464"/>
            <a:ext cx="62271" cy="24818"/>
          </a:xfrm>
          <a:custGeom>
            <a:avLst/>
            <a:gdLst>
              <a:gd name="T0" fmla="*/ 16 w 17"/>
              <a:gd name="T1" fmla="*/ 3 h 9"/>
              <a:gd name="T2" fmla="*/ 12 w 17"/>
              <a:gd name="T3" fmla="*/ 8 h 9"/>
              <a:gd name="T4" fmla="*/ 7 w 17"/>
              <a:gd name="T5" fmla="*/ 7 h 9"/>
              <a:gd name="T6" fmla="*/ 2 w 17"/>
              <a:gd name="T7" fmla="*/ 8 h 9"/>
              <a:gd name="T8" fmla="*/ 2 w 17"/>
              <a:gd name="T9" fmla="*/ 4 h 9"/>
              <a:gd name="T10" fmla="*/ 8 w 17"/>
              <a:gd name="T11" fmla="*/ 0 h 9"/>
              <a:gd name="T12" fmla="*/ 12 w 17"/>
              <a:gd name="T13" fmla="*/ 2 h 9"/>
              <a:gd name="T14" fmla="*/ 16 w 17"/>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9">
                <a:moveTo>
                  <a:pt x="16" y="3"/>
                </a:moveTo>
                <a:cubicBezTo>
                  <a:pt x="17" y="4"/>
                  <a:pt x="14" y="7"/>
                  <a:pt x="12" y="8"/>
                </a:cubicBezTo>
                <a:cubicBezTo>
                  <a:pt x="11" y="9"/>
                  <a:pt x="8" y="7"/>
                  <a:pt x="7" y="7"/>
                </a:cubicBezTo>
                <a:cubicBezTo>
                  <a:pt x="5" y="6"/>
                  <a:pt x="3" y="8"/>
                  <a:pt x="2" y="8"/>
                </a:cubicBezTo>
                <a:cubicBezTo>
                  <a:pt x="0" y="8"/>
                  <a:pt x="0" y="6"/>
                  <a:pt x="2" y="4"/>
                </a:cubicBezTo>
                <a:cubicBezTo>
                  <a:pt x="3" y="2"/>
                  <a:pt x="6" y="0"/>
                  <a:pt x="8" y="0"/>
                </a:cubicBezTo>
                <a:cubicBezTo>
                  <a:pt x="9" y="1"/>
                  <a:pt x="10" y="1"/>
                  <a:pt x="12" y="2"/>
                </a:cubicBezTo>
                <a:cubicBezTo>
                  <a:pt x="13" y="3"/>
                  <a:pt x="14" y="1"/>
                  <a:pt x="16" y="3"/>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88" name="Freeform 185"/>
          <p:cNvSpPr>
            <a:spLocks/>
          </p:cNvSpPr>
          <p:nvPr>
            <p:custDataLst>
              <p:tags r:id="rId67"/>
            </p:custDataLst>
          </p:nvPr>
        </p:nvSpPr>
        <p:spPr bwMode="gray">
          <a:xfrm>
            <a:off x="4658097" y="4214189"/>
            <a:ext cx="83825" cy="39001"/>
          </a:xfrm>
          <a:custGeom>
            <a:avLst/>
            <a:gdLst>
              <a:gd name="T0" fmla="*/ 22 w 23"/>
              <a:gd name="T1" fmla="*/ 6 h 14"/>
              <a:gd name="T2" fmla="*/ 20 w 23"/>
              <a:gd name="T3" fmla="*/ 13 h 14"/>
              <a:gd name="T4" fmla="*/ 6 w 23"/>
              <a:gd name="T5" fmla="*/ 9 h 14"/>
              <a:gd name="T6" fmla="*/ 0 w 23"/>
              <a:gd name="T7" fmla="*/ 3 h 14"/>
              <a:gd name="T8" fmla="*/ 8 w 23"/>
              <a:gd name="T9" fmla="*/ 0 h 14"/>
              <a:gd name="T10" fmla="*/ 15 w 23"/>
              <a:gd name="T11" fmla="*/ 1 h 14"/>
              <a:gd name="T12" fmla="*/ 22 w 23"/>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23" h="14">
                <a:moveTo>
                  <a:pt x="22" y="6"/>
                </a:moveTo>
                <a:cubicBezTo>
                  <a:pt x="23" y="9"/>
                  <a:pt x="22" y="11"/>
                  <a:pt x="20" y="13"/>
                </a:cubicBezTo>
                <a:cubicBezTo>
                  <a:pt x="18" y="14"/>
                  <a:pt x="9" y="10"/>
                  <a:pt x="6" y="9"/>
                </a:cubicBezTo>
                <a:cubicBezTo>
                  <a:pt x="3" y="9"/>
                  <a:pt x="0" y="6"/>
                  <a:pt x="0" y="3"/>
                </a:cubicBezTo>
                <a:cubicBezTo>
                  <a:pt x="0" y="1"/>
                  <a:pt x="8" y="0"/>
                  <a:pt x="8" y="0"/>
                </a:cubicBezTo>
                <a:cubicBezTo>
                  <a:pt x="15" y="1"/>
                  <a:pt x="15" y="1"/>
                  <a:pt x="15" y="1"/>
                </a:cubicBezTo>
                <a:cubicBezTo>
                  <a:pt x="15" y="1"/>
                  <a:pt x="21" y="4"/>
                  <a:pt x="22" y="6"/>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89" name="Freeform 186"/>
          <p:cNvSpPr>
            <a:spLocks/>
          </p:cNvSpPr>
          <p:nvPr>
            <p:custDataLst>
              <p:tags r:id="rId68"/>
            </p:custDataLst>
          </p:nvPr>
        </p:nvSpPr>
        <p:spPr bwMode="gray">
          <a:xfrm>
            <a:off x="4064136" y="3960685"/>
            <a:ext cx="658624" cy="561965"/>
          </a:xfrm>
          <a:custGeom>
            <a:avLst/>
            <a:gdLst>
              <a:gd name="T0" fmla="*/ 176 w 182"/>
              <a:gd name="T1" fmla="*/ 33 h 210"/>
              <a:gd name="T2" fmla="*/ 156 w 182"/>
              <a:gd name="T3" fmla="*/ 38 h 210"/>
              <a:gd name="T4" fmla="*/ 113 w 182"/>
              <a:gd name="T5" fmla="*/ 44 h 210"/>
              <a:gd name="T6" fmla="*/ 125 w 182"/>
              <a:gd name="T7" fmla="*/ 65 h 210"/>
              <a:gd name="T8" fmla="*/ 107 w 182"/>
              <a:gd name="T9" fmla="*/ 61 h 210"/>
              <a:gd name="T10" fmla="*/ 111 w 182"/>
              <a:gd name="T11" fmla="*/ 78 h 210"/>
              <a:gd name="T12" fmla="*/ 94 w 182"/>
              <a:gd name="T13" fmla="*/ 65 h 210"/>
              <a:gd name="T14" fmla="*/ 103 w 182"/>
              <a:gd name="T15" fmla="*/ 81 h 210"/>
              <a:gd name="T16" fmla="*/ 87 w 182"/>
              <a:gd name="T17" fmla="*/ 65 h 210"/>
              <a:gd name="T18" fmla="*/ 83 w 182"/>
              <a:gd name="T19" fmla="*/ 55 h 210"/>
              <a:gd name="T20" fmla="*/ 70 w 182"/>
              <a:gd name="T21" fmla="*/ 57 h 210"/>
              <a:gd name="T22" fmla="*/ 72 w 182"/>
              <a:gd name="T23" fmla="*/ 75 h 210"/>
              <a:gd name="T24" fmla="*/ 93 w 182"/>
              <a:gd name="T25" fmla="*/ 103 h 210"/>
              <a:gd name="T26" fmla="*/ 83 w 182"/>
              <a:gd name="T27" fmla="*/ 100 h 210"/>
              <a:gd name="T28" fmla="*/ 84 w 182"/>
              <a:gd name="T29" fmla="*/ 109 h 210"/>
              <a:gd name="T30" fmla="*/ 72 w 182"/>
              <a:gd name="T31" fmla="*/ 117 h 210"/>
              <a:gd name="T32" fmla="*/ 93 w 182"/>
              <a:gd name="T33" fmla="*/ 128 h 210"/>
              <a:gd name="T34" fmla="*/ 101 w 182"/>
              <a:gd name="T35" fmla="*/ 125 h 210"/>
              <a:gd name="T36" fmla="*/ 86 w 182"/>
              <a:gd name="T37" fmla="*/ 116 h 210"/>
              <a:gd name="T38" fmla="*/ 96 w 182"/>
              <a:gd name="T39" fmla="*/ 113 h 210"/>
              <a:gd name="T40" fmla="*/ 116 w 182"/>
              <a:gd name="T41" fmla="*/ 121 h 210"/>
              <a:gd name="T42" fmla="*/ 122 w 182"/>
              <a:gd name="T43" fmla="*/ 128 h 210"/>
              <a:gd name="T44" fmla="*/ 127 w 182"/>
              <a:gd name="T45" fmla="*/ 139 h 210"/>
              <a:gd name="T46" fmla="*/ 131 w 182"/>
              <a:gd name="T47" fmla="*/ 148 h 210"/>
              <a:gd name="T48" fmla="*/ 117 w 182"/>
              <a:gd name="T49" fmla="*/ 137 h 210"/>
              <a:gd name="T50" fmla="*/ 107 w 182"/>
              <a:gd name="T51" fmla="*/ 133 h 210"/>
              <a:gd name="T52" fmla="*/ 113 w 182"/>
              <a:gd name="T53" fmla="*/ 143 h 210"/>
              <a:gd name="T54" fmla="*/ 116 w 182"/>
              <a:gd name="T55" fmla="*/ 156 h 210"/>
              <a:gd name="T56" fmla="*/ 109 w 182"/>
              <a:gd name="T57" fmla="*/ 157 h 210"/>
              <a:gd name="T58" fmla="*/ 89 w 182"/>
              <a:gd name="T59" fmla="*/ 152 h 210"/>
              <a:gd name="T60" fmla="*/ 94 w 182"/>
              <a:gd name="T61" fmla="*/ 163 h 210"/>
              <a:gd name="T62" fmla="*/ 96 w 182"/>
              <a:gd name="T63" fmla="*/ 172 h 210"/>
              <a:gd name="T64" fmla="*/ 80 w 182"/>
              <a:gd name="T65" fmla="*/ 164 h 210"/>
              <a:gd name="T66" fmla="*/ 88 w 182"/>
              <a:gd name="T67" fmla="*/ 197 h 210"/>
              <a:gd name="T68" fmla="*/ 86 w 182"/>
              <a:gd name="T69" fmla="*/ 206 h 210"/>
              <a:gd name="T70" fmla="*/ 74 w 182"/>
              <a:gd name="T71" fmla="*/ 195 h 210"/>
              <a:gd name="T72" fmla="*/ 67 w 182"/>
              <a:gd name="T73" fmla="*/ 205 h 210"/>
              <a:gd name="T74" fmla="*/ 60 w 182"/>
              <a:gd name="T75" fmla="*/ 186 h 210"/>
              <a:gd name="T76" fmla="*/ 55 w 182"/>
              <a:gd name="T77" fmla="*/ 197 h 210"/>
              <a:gd name="T78" fmla="*/ 46 w 182"/>
              <a:gd name="T79" fmla="*/ 187 h 210"/>
              <a:gd name="T80" fmla="*/ 47 w 182"/>
              <a:gd name="T81" fmla="*/ 174 h 210"/>
              <a:gd name="T82" fmla="*/ 30 w 182"/>
              <a:gd name="T83" fmla="*/ 154 h 210"/>
              <a:gd name="T84" fmla="*/ 36 w 182"/>
              <a:gd name="T85" fmla="*/ 149 h 210"/>
              <a:gd name="T86" fmla="*/ 44 w 182"/>
              <a:gd name="T87" fmla="*/ 143 h 210"/>
              <a:gd name="T88" fmla="*/ 62 w 182"/>
              <a:gd name="T89" fmla="*/ 143 h 210"/>
              <a:gd name="T90" fmla="*/ 82 w 182"/>
              <a:gd name="T91" fmla="*/ 149 h 210"/>
              <a:gd name="T92" fmla="*/ 79 w 182"/>
              <a:gd name="T93" fmla="*/ 139 h 210"/>
              <a:gd name="T94" fmla="*/ 50 w 182"/>
              <a:gd name="T95" fmla="*/ 134 h 210"/>
              <a:gd name="T96" fmla="*/ 24 w 182"/>
              <a:gd name="T97" fmla="*/ 122 h 210"/>
              <a:gd name="T98" fmla="*/ 13 w 182"/>
              <a:gd name="T99" fmla="*/ 128 h 210"/>
              <a:gd name="T100" fmla="*/ 17 w 182"/>
              <a:gd name="T101" fmla="*/ 110 h 210"/>
              <a:gd name="T102" fmla="*/ 2 w 182"/>
              <a:gd name="T103" fmla="*/ 90 h 210"/>
              <a:gd name="T104" fmla="*/ 9 w 182"/>
              <a:gd name="T105" fmla="*/ 77 h 210"/>
              <a:gd name="T106" fmla="*/ 24 w 182"/>
              <a:gd name="T107" fmla="*/ 46 h 210"/>
              <a:gd name="T108" fmla="*/ 57 w 182"/>
              <a:gd name="T109" fmla="*/ 33 h 210"/>
              <a:gd name="T110" fmla="*/ 80 w 182"/>
              <a:gd name="T111" fmla="*/ 29 h 210"/>
              <a:gd name="T112" fmla="*/ 146 w 182"/>
              <a:gd name="T113" fmla="*/ 22 h 210"/>
              <a:gd name="T114" fmla="*/ 173 w 182"/>
              <a:gd name="T115"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210">
                <a:moveTo>
                  <a:pt x="182" y="17"/>
                </a:moveTo>
                <a:cubicBezTo>
                  <a:pt x="182" y="25"/>
                  <a:pt x="178" y="31"/>
                  <a:pt x="176" y="33"/>
                </a:cubicBezTo>
                <a:cubicBezTo>
                  <a:pt x="174" y="35"/>
                  <a:pt x="171" y="39"/>
                  <a:pt x="168" y="43"/>
                </a:cubicBezTo>
                <a:cubicBezTo>
                  <a:pt x="165" y="40"/>
                  <a:pt x="161" y="38"/>
                  <a:pt x="156" y="38"/>
                </a:cubicBezTo>
                <a:cubicBezTo>
                  <a:pt x="150" y="38"/>
                  <a:pt x="142" y="35"/>
                  <a:pt x="138" y="37"/>
                </a:cubicBezTo>
                <a:cubicBezTo>
                  <a:pt x="133" y="40"/>
                  <a:pt x="119" y="45"/>
                  <a:pt x="113" y="44"/>
                </a:cubicBezTo>
                <a:cubicBezTo>
                  <a:pt x="108" y="44"/>
                  <a:pt x="102" y="44"/>
                  <a:pt x="102" y="47"/>
                </a:cubicBezTo>
                <a:cubicBezTo>
                  <a:pt x="102" y="51"/>
                  <a:pt x="126" y="62"/>
                  <a:pt x="125" y="65"/>
                </a:cubicBezTo>
                <a:cubicBezTo>
                  <a:pt x="124" y="68"/>
                  <a:pt x="122" y="68"/>
                  <a:pt x="119" y="67"/>
                </a:cubicBezTo>
                <a:cubicBezTo>
                  <a:pt x="116" y="65"/>
                  <a:pt x="110" y="58"/>
                  <a:pt x="107" y="61"/>
                </a:cubicBezTo>
                <a:cubicBezTo>
                  <a:pt x="103" y="64"/>
                  <a:pt x="113" y="70"/>
                  <a:pt x="113" y="72"/>
                </a:cubicBezTo>
                <a:cubicBezTo>
                  <a:pt x="113" y="74"/>
                  <a:pt x="112" y="78"/>
                  <a:pt x="111" y="78"/>
                </a:cubicBezTo>
                <a:cubicBezTo>
                  <a:pt x="110" y="78"/>
                  <a:pt x="102" y="68"/>
                  <a:pt x="100" y="66"/>
                </a:cubicBezTo>
                <a:cubicBezTo>
                  <a:pt x="97" y="64"/>
                  <a:pt x="96" y="64"/>
                  <a:pt x="94" y="65"/>
                </a:cubicBezTo>
                <a:cubicBezTo>
                  <a:pt x="92" y="66"/>
                  <a:pt x="95" y="74"/>
                  <a:pt x="98" y="75"/>
                </a:cubicBezTo>
                <a:cubicBezTo>
                  <a:pt x="101" y="76"/>
                  <a:pt x="105" y="79"/>
                  <a:pt x="103" y="81"/>
                </a:cubicBezTo>
                <a:cubicBezTo>
                  <a:pt x="101" y="83"/>
                  <a:pt x="97" y="82"/>
                  <a:pt x="93" y="78"/>
                </a:cubicBezTo>
                <a:cubicBezTo>
                  <a:pt x="88" y="75"/>
                  <a:pt x="90" y="67"/>
                  <a:pt x="87" y="65"/>
                </a:cubicBezTo>
                <a:cubicBezTo>
                  <a:pt x="84" y="63"/>
                  <a:pt x="79" y="61"/>
                  <a:pt x="79" y="58"/>
                </a:cubicBezTo>
                <a:cubicBezTo>
                  <a:pt x="80" y="56"/>
                  <a:pt x="82" y="56"/>
                  <a:pt x="83" y="55"/>
                </a:cubicBezTo>
                <a:cubicBezTo>
                  <a:pt x="84" y="53"/>
                  <a:pt x="81" y="49"/>
                  <a:pt x="79" y="50"/>
                </a:cubicBezTo>
                <a:cubicBezTo>
                  <a:pt x="76" y="50"/>
                  <a:pt x="70" y="55"/>
                  <a:pt x="70" y="57"/>
                </a:cubicBezTo>
                <a:cubicBezTo>
                  <a:pt x="69" y="60"/>
                  <a:pt x="74" y="62"/>
                  <a:pt x="72" y="65"/>
                </a:cubicBezTo>
                <a:cubicBezTo>
                  <a:pt x="70" y="69"/>
                  <a:pt x="70" y="72"/>
                  <a:pt x="72" y="75"/>
                </a:cubicBezTo>
                <a:cubicBezTo>
                  <a:pt x="74" y="78"/>
                  <a:pt x="77" y="80"/>
                  <a:pt x="78" y="83"/>
                </a:cubicBezTo>
                <a:cubicBezTo>
                  <a:pt x="81" y="85"/>
                  <a:pt x="93" y="102"/>
                  <a:pt x="93" y="103"/>
                </a:cubicBezTo>
                <a:cubicBezTo>
                  <a:pt x="94" y="105"/>
                  <a:pt x="94" y="107"/>
                  <a:pt x="92" y="107"/>
                </a:cubicBezTo>
                <a:cubicBezTo>
                  <a:pt x="90" y="107"/>
                  <a:pt x="86" y="101"/>
                  <a:pt x="83" y="100"/>
                </a:cubicBezTo>
                <a:cubicBezTo>
                  <a:pt x="80" y="100"/>
                  <a:pt x="78" y="101"/>
                  <a:pt x="79" y="104"/>
                </a:cubicBezTo>
                <a:cubicBezTo>
                  <a:pt x="80" y="106"/>
                  <a:pt x="84" y="107"/>
                  <a:pt x="84" y="109"/>
                </a:cubicBezTo>
                <a:cubicBezTo>
                  <a:pt x="84" y="111"/>
                  <a:pt x="77" y="116"/>
                  <a:pt x="75" y="115"/>
                </a:cubicBezTo>
                <a:cubicBezTo>
                  <a:pt x="72" y="114"/>
                  <a:pt x="71" y="116"/>
                  <a:pt x="72" y="117"/>
                </a:cubicBezTo>
                <a:cubicBezTo>
                  <a:pt x="72" y="118"/>
                  <a:pt x="75" y="121"/>
                  <a:pt x="80" y="122"/>
                </a:cubicBezTo>
                <a:cubicBezTo>
                  <a:pt x="86" y="122"/>
                  <a:pt x="92" y="126"/>
                  <a:pt x="93" y="128"/>
                </a:cubicBezTo>
                <a:cubicBezTo>
                  <a:pt x="95" y="130"/>
                  <a:pt x="101" y="132"/>
                  <a:pt x="102" y="130"/>
                </a:cubicBezTo>
                <a:cubicBezTo>
                  <a:pt x="103" y="128"/>
                  <a:pt x="104" y="128"/>
                  <a:pt x="101" y="125"/>
                </a:cubicBezTo>
                <a:cubicBezTo>
                  <a:pt x="98" y="122"/>
                  <a:pt x="97" y="121"/>
                  <a:pt x="94" y="120"/>
                </a:cubicBezTo>
                <a:cubicBezTo>
                  <a:pt x="92" y="118"/>
                  <a:pt x="84" y="117"/>
                  <a:pt x="86" y="116"/>
                </a:cubicBezTo>
                <a:cubicBezTo>
                  <a:pt x="88" y="116"/>
                  <a:pt x="91" y="110"/>
                  <a:pt x="94" y="111"/>
                </a:cubicBezTo>
                <a:cubicBezTo>
                  <a:pt x="96" y="112"/>
                  <a:pt x="94" y="111"/>
                  <a:pt x="96" y="113"/>
                </a:cubicBezTo>
                <a:cubicBezTo>
                  <a:pt x="98" y="115"/>
                  <a:pt x="100" y="116"/>
                  <a:pt x="103" y="117"/>
                </a:cubicBezTo>
                <a:cubicBezTo>
                  <a:pt x="106" y="118"/>
                  <a:pt x="114" y="121"/>
                  <a:pt x="116" y="121"/>
                </a:cubicBezTo>
                <a:cubicBezTo>
                  <a:pt x="118" y="121"/>
                  <a:pt x="118" y="121"/>
                  <a:pt x="118" y="123"/>
                </a:cubicBezTo>
                <a:cubicBezTo>
                  <a:pt x="119" y="126"/>
                  <a:pt x="121" y="127"/>
                  <a:pt x="122" y="128"/>
                </a:cubicBezTo>
                <a:cubicBezTo>
                  <a:pt x="123" y="128"/>
                  <a:pt x="122" y="131"/>
                  <a:pt x="122" y="133"/>
                </a:cubicBezTo>
                <a:cubicBezTo>
                  <a:pt x="122" y="135"/>
                  <a:pt x="125" y="139"/>
                  <a:pt x="127" y="139"/>
                </a:cubicBezTo>
                <a:cubicBezTo>
                  <a:pt x="128" y="139"/>
                  <a:pt x="133" y="139"/>
                  <a:pt x="133" y="140"/>
                </a:cubicBezTo>
                <a:cubicBezTo>
                  <a:pt x="133" y="140"/>
                  <a:pt x="132" y="148"/>
                  <a:pt x="131" y="148"/>
                </a:cubicBezTo>
                <a:cubicBezTo>
                  <a:pt x="130" y="149"/>
                  <a:pt x="125" y="149"/>
                  <a:pt x="123" y="146"/>
                </a:cubicBezTo>
                <a:cubicBezTo>
                  <a:pt x="121" y="144"/>
                  <a:pt x="118" y="139"/>
                  <a:pt x="117" y="137"/>
                </a:cubicBezTo>
                <a:cubicBezTo>
                  <a:pt x="116" y="135"/>
                  <a:pt x="114" y="133"/>
                  <a:pt x="112" y="133"/>
                </a:cubicBezTo>
                <a:cubicBezTo>
                  <a:pt x="110" y="133"/>
                  <a:pt x="107" y="132"/>
                  <a:pt x="107" y="133"/>
                </a:cubicBezTo>
                <a:cubicBezTo>
                  <a:pt x="107" y="134"/>
                  <a:pt x="106" y="135"/>
                  <a:pt x="107" y="136"/>
                </a:cubicBezTo>
                <a:cubicBezTo>
                  <a:pt x="108" y="138"/>
                  <a:pt x="113" y="141"/>
                  <a:pt x="113" y="143"/>
                </a:cubicBezTo>
                <a:cubicBezTo>
                  <a:pt x="113" y="144"/>
                  <a:pt x="112" y="146"/>
                  <a:pt x="112" y="148"/>
                </a:cubicBezTo>
                <a:cubicBezTo>
                  <a:pt x="112" y="149"/>
                  <a:pt x="117" y="154"/>
                  <a:pt x="116" y="156"/>
                </a:cubicBezTo>
                <a:cubicBezTo>
                  <a:pt x="116" y="158"/>
                  <a:pt x="117" y="159"/>
                  <a:pt x="115" y="159"/>
                </a:cubicBezTo>
                <a:cubicBezTo>
                  <a:pt x="113" y="159"/>
                  <a:pt x="110" y="159"/>
                  <a:pt x="109" y="157"/>
                </a:cubicBezTo>
                <a:cubicBezTo>
                  <a:pt x="109" y="155"/>
                  <a:pt x="102" y="150"/>
                  <a:pt x="100" y="150"/>
                </a:cubicBezTo>
                <a:cubicBezTo>
                  <a:pt x="98" y="150"/>
                  <a:pt x="91" y="150"/>
                  <a:pt x="89" y="152"/>
                </a:cubicBezTo>
                <a:cubicBezTo>
                  <a:pt x="87" y="153"/>
                  <a:pt x="91" y="155"/>
                  <a:pt x="91" y="156"/>
                </a:cubicBezTo>
                <a:cubicBezTo>
                  <a:pt x="92" y="158"/>
                  <a:pt x="91" y="161"/>
                  <a:pt x="94" y="163"/>
                </a:cubicBezTo>
                <a:cubicBezTo>
                  <a:pt x="96" y="164"/>
                  <a:pt x="103" y="165"/>
                  <a:pt x="103" y="168"/>
                </a:cubicBezTo>
                <a:cubicBezTo>
                  <a:pt x="103" y="170"/>
                  <a:pt x="97" y="169"/>
                  <a:pt x="96" y="172"/>
                </a:cubicBezTo>
                <a:cubicBezTo>
                  <a:pt x="94" y="175"/>
                  <a:pt x="91" y="176"/>
                  <a:pt x="89" y="174"/>
                </a:cubicBezTo>
                <a:cubicBezTo>
                  <a:pt x="88" y="172"/>
                  <a:pt x="82" y="163"/>
                  <a:pt x="80" y="164"/>
                </a:cubicBezTo>
                <a:cubicBezTo>
                  <a:pt x="77" y="165"/>
                  <a:pt x="88" y="190"/>
                  <a:pt x="90" y="192"/>
                </a:cubicBezTo>
                <a:cubicBezTo>
                  <a:pt x="91" y="194"/>
                  <a:pt x="88" y="195"/>
                  <a:pt x="88" y="197"/>
                </a:cubicBezTo>
                <a:cubicBezTo>
                  <a:pt x="89" y="199"/>
                  <a:pt x="94" y="203"/>
                  <a:pt x="94" y="205"/>
                </a:cubicBezTo>
                <a:cubicBezTo>
                  <a:pt x="94" y="207"/>
                  <a:pt x="87" y="207"/>
                  <a:pt x="86" y="206"/>
                </a:cubicBezTo>
                <a:cubicBezTo>
                  <a:pt x="84" y="205"/>
                  <a:pt x="81" y="194"/>
                  <a:pt x="79" y="193"/>
                </a:cubicBezTo>
                <a:cubicBezTo>
                  <a:pt x="77" y="192"/>
                  <a:pt x="75" y="194"/>
                  <a:pt x="74" y="195"/>
                </a:cubicBezTo>
                <a:cubicBezTo>
                  <a:pt x="73" y="196"/>
                  <a:pt x="74" y="206"/>
                  <a:pt x="73" y="208"/>
                </a:cubicBezTo>
                <a:cubicBezTo>
                  <a:pt x="72" y="210"/>
                  <a:pt x="67" y="207"/>
                  <a:pt x="67" y="205"/>
                </a:cubicBezTo>
                <a:cubicBezTo>
                  <a:pt x="66" y="204"/>
                  <a:pt x="68" y="196"/>
                  <a:pt x="66" y="193"/>
                </a:cubicBezTo>
                <a:cubicBezTo>
                  <a:pt x="64" y="190"/>
                  <a:pt x="62" y="186"/>
                  <a:pt x="60" y="186"/>
                </a:cubicBezTo>
                <a:cubicBezTo>
                  <a:pt x="58" y="186"/>
                  <a:pt x="56" y="186"/>
                  <a:pt x="56" y="187"/>
                </a:cubicBezTo>
                <a:cubicBezTo>
                  <a:pt x="55" y="188"/>
                  <a:pt x="57" y="197"/>
                  <a:pt x="55" y="197"/>
                </a:cubicBezTo>
                <a:cubicBezTo>
                  <a:pt x="53" y="197"/>
                  <a:pt x="49" y="195"/>
                  <a:pt x="48" y="193"/>
                </a:cubicBezTo>
                <a:cubicBezTo>
                  <a:pt x="47" y="191"/>
                  <a:pt x="48" y="189"/>
                  <a:pt x="46" y="187"/>
                </a:cubicBezTo>
                <a:cubicBezTo>
                  <a:pt x="44" y="185"/>
                  <a:pt x="43" y="183"/>
                  <a:pt x="44" y="181"/>
                </a:cubicBezTo>
                <a:cubicBezTo>
                  <a:pt x="44" y="179"/>
                  <a:pt x="48" y="177"/>
                  <a:pt x="47" y="174"/>
                </a:cubicBezTo>
                <a:cubicBezTo>
                  <a:pt x="46" y="171"/>
                  <a:pt x="37" y="159"/>
                  <a:pt x="34" y="157"/>
                </a:cubicBezTo>
                <a:cubicBezTo>
                  <a:pt x="32" y="156"/>
                  <a:pt x="30" y="155"/>
                  <a:pt x="30" y="154"/>
                </a:cubicBezTo>
                <a:cubicBezTo>
                  <a:pt x="30" y="153"/>
                  <a:pt x="30" y="151"/>
                  <a:pt x="32" y="151"/>
                </a:cubicBezTo>
                <a:cubicBezTo>
                  <a:pt x="33" y="151"/>
                  <a:pt x="35" y="150"/>
                  <a:pt x="36" y="149"/>
                </a:cubicBezTo>
                <a:cubicBezTo>
                  <a:pt x="37" y="147"/>
                  <a:pt x="37" y="143"/>
                  <a:pt x="38" y="143"/>
                </a:cubicBezTo>
                <a:cubicBezTo>
                  <a:pt x="39" y="142"/>
                  <a:pt x="42" y="144"/>
                  <a:pt x="44" y="143"/>
                </a:cubicBezTo>
                <a:cubicBezTo>
                  <a:pt x="45" y="143"/>
                  <a:pt x="50" y="139"/>
                  <a:pt x="52" y="139"/>
                </a:cubicBezTo>
                <a:cubicBezTo>
                  <a:pt x="54" y="140"/>
                  <a:pt x="61" y="142"/>
                  <a:pt x="62" y="143"/>
                </a:cubicBezTo>
                <a:cubicBezTo>
                  <a:pt x="64" y="144"/>
                  <a:pt x="76" y="148"/>
                  <a:pt x="78" y="149"/>
                </a:cubicBezTo>
                <a:cubicBezTo>
                  <a:pt x="79" y="149"/>
                  <a:pt x="81" y="150"/>
                  <a:pt x="82" y="149"/>
                </a:cubicBezTo>
                <a:cubicBezTo>
                  <a:pt x="84" y="147"/>
                  <a:pt x="90" y="145"/>
                  <a:pt x="90" y="143"/>
                </a:cubicBezTo>
                <a:cubicBezTo>
                  <a:pt x="90" y="141"/>
                  <a:pt x="82" y="140"/>
                  <a:pt x="79" y="139"/>
                </a:cubicBezTo>
                <a:cubicBezTo>
                  <a:pt x="76" y="138"/>
                  <a:pt x="70" y="135"/>
                  <a:pt x="68" y="135"/>
                </a:cubicBezTo>
                <a:cubicBezTo>
                  <a:pt x="66" y="135"/>
                  <a:pt x="54" y="133"/>
                  <a:pt x="50" y="134"/>
                </a:cubicBezTo>
                <a:cubicBezTo>
                  <a:pt x="45" y="135"/>
                  <a:pt x="32" y="138"/>
                  <a:pt x="30" y="137"/>
                </a:cubicBezTo>
                <a:cubicBezTo>
                  <a:pt x="28" y="136"/>
                  <a:pt x="25" y="124"/>
                  <a:pt x="24" y="122"/>
                </a:cubicBezTo>
                <a:cubicBezTo>
                  <a:pt x="22" y="121"/>
                  <a:pt x="19" y="127"/>
                  <a:pt x="17" y="128"/>
                </a:cubicBezTo>
                <a:cubicBezTo>
                  <a:pt x="16" y="128"/>
                  <a:pt x="14" y="130"/>
                  <a:pt x="13" y="128"/>
                </a:cubicBezTo>
                <a:cubicBezTo>
                  <a:pt x="12" y="127"/>
                  <a:pt x="16" y="119"/>
                  <a:pt x="17" y="118"/>
                </a:cubicBezTo>
                <a:cubicBezTo>
                  <a:pt x="18" y="118"/>
                  <a:pt x="19" y="112"/>
                  <a:pt x="17" y="110"/>
                </a:cubicBezTo>
                <a:cubicBezTo>
                  <a:pt x="15" y="108"/>
                  <a:pt x="8" y="106"/>
                  <a:pt x="6" y="102"/>
                </a:cubicBezTo>
                <a:cubicBezTo>
                  <a:pt x="4" y="98"/>
                  <a:pt x="3" y="92"/>
                  <a:pt x="2" y="90"/>
                </a:cubicBezTo>
                <a:cubicBezTo>
                  <a:pt x="2" y="90"/>
                  <a:pt x="1" y="90"/>
                  <a:pt x="0" y="89"/>
                </a:cubicBezTo>
                <a:cubicBezTo>
                  <a:pt x="4" y="85"/>
                  <a:pt x="7" y="79"/>
                  <a:pt x="9" y="77"/>
                </a:cubicBezTo>
                <a:cubicBezTo>
                  <a:pt x="11" y="71"/>
                  <a:pt x="20" y="64"/>
                  <a:pt x="24" y="60"/>
                </a:cubicBezTo>
                <a:cubicBezTo>
                  <a:pt x="28" y="56"/>
                  <a:pt x="27" y="50"/>
                  <a:pt x="24" y="46"/>
                </a:cubicBezTo>
                <a:cubicBezTo>
                  <a:pt x="34" y="43"/>
                  <a:pt x="34" y="43"/>
                  <a:pt x="34" y="43"/>
                </a:cubicBezTo>
                <a:cubicBezTo>
                  <a:pt x="40" y="41"/>
                  <a:pt x="53" y="33"/>
                  <a:pt x="57" y="33"/>
                </a:cubicBezTo>
                <a:cubicBezTo>
                  <a:pt x="61" y="33"/>
                  <a:pt x="69" y="33"/>
                  <a:pt x="73" y="32"/>
                </a:cubicBezTo>
                <a:cubicBezTo>
                  <a:pt x="74" y="32"/>
                  <a:pt x="76" y="30"/>
                  <a:pt x="80" y="29"/>
                </a:cubicBezTo>
                <a:cubicBezTo>
                  <a:pt x="91" y="24"/>
                  <a:pt x="111" y="15"/>
                  <a:pt x="117" y="15"/>
                </a:cubicBezTo>
                <a:cubicBezTo>
                  <a:pt x="124" y="15"/>
                  <a:pt x="140" y="22"/>
                  <a:pt x="146" y="22"/>
                </a:cubicBezTo>
                <a:cubicBezTo>
                  <a:pt x="152" y="22"/>
                  <a:pt x="163" y="23"/>
                  <a:pt x="165" y="17"/>
                </a:cubicBezTo>
                <a:cubicBezTo>
                  <a:pt x="167" y="11"/>
                  <a:pt x="166" y="5"/>
                  <a:pt x="173" y="0"/>
                </a:cubicBezTo>
                <a:cubicBezTo>
                  <a:pt x="173" y="0"/>
                  <a:pt x="182" y="9"/>
                  <a:pt x="182" y="17"/>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90" name="Freeform 187"/>
          <p:cNvSpPr>
            <a:spLocks/>
          </p:cNvSpPr>
          <p:nvPr>
            <p:custDataLst>
              <p:tags r:id="rId69"/>
            </p:custDataLst>
          </p:nvPr>
        </p:nvSpPr>
        <p:spPr bwMode="gray">
          <a:xfrm>
            <a:off x="4629357" y="4423375"/>
            <a:ext cx="33530" cy="30137"/>
          </a:xfrm>
          <a:custGeom>
            <a:avLst/>
            <a:gdLst>
              <a:gd name="T0" fmla="*/ 8 w 10"/>
              <a:gd name="T1" fmla="*/ 2 h 11"/>
              <a:gd name="T2" fmla="*/ 6 w 10"/>
              <a:gd name="T3" fmla="*/ 10 h 11"/>
              <a:gd name="T4" fmla="*/ 2 w 10"/>
              <a:gd name="T5" fmla="*/ 10 h 11"/>
              <a:gd name="T6" fmla="*/ 0 w 10"/>
              <a:gd name="T7" fmla="*/ 4 h 11"/>
              <a:gd name="T8" fmla="*/ 2 w 10"/>
              <a:gd name="T9" fmla="*/ 1 h 11"/>
              <a:gd name="T10" fmla="*/ 8 w 10"/>
              <a:gd name="T11" fmla="*/ 2 h 11"/>
            </a:gdLst>
            <a:ahLst/>
            <a:cxnLst>
              <a:cxn ang="0">
                <a:pos x="T0" y="T1"/>
              </a:cxn>
              <a:cxn ang="0">
                <a:pos x="T2" y="T3"/>
              </a:cxn>
              <a:cxn ang="0">
                <a:pos x="T4" y="T5"/>
              </a:cxn>
              <a:cxn ang="0">
                <a:pos x="T6" y="T7"/>
              </a:cxn>
              <a:cxn ang="0">
                <a:pos x="T8" y="T9"/>
              </a:cxn>
              <a:cxn ang="0">
                <a:pos x="T10" y="T11"/>
              </a:cxn>
            </a:cxnLst>
            <a:rect l="0" t="0" r="r" b="b"/>
            <a:pathLst>
              <a:path w="10" h="11">
                <a:moveTo>
                  <a:pt x="8" y="2"/>
                </a:moveTo>
                <a:cubicBezTo>
                  <a:pt x="10" y="3"/>
                  <a:pt x="8" y="9"/>
                  <a:pt x="6" y="10"/>
                </a:cubicBezTo>
                <a:cubicBezTo>
                  <a:pt x="6" y="11"/>
                  <a:pt x="3" y="11"/>
                  <a:pt x="2" y="10"/>
                </a:cubicBezTo>
                <a:cubicBezTo>
                  <a:pt x="2" y="10"/>
                  <a:pt x="0" y="5"/>
                  <a:pt x="0" y="4"/>
                </a:cubicBezTo>
                <a:cubicBezTo>
                  <a:pt x="0" y="3"/>
                  <a:pt x="0" y="2"/>
                  <a:pt x="2" y="1"/>
                </a:cubicBezTo>
                <a:cubicBezTo>
                  <a:pt x="2" y="1"/>
                  <a:pt x="6" y="0"/>
                  <a:pt x="8" y="2"/>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91" name="Freeform 188"/>
          <p:cNvSpPr>
            <a:spLocks/>
          </p:cNvSpPr>
          <p:nvPr>
            <p:custDataLst>
              <p:tags r:id="rId70"/>
            </p:custDataLst>
          </p:nvPr>
        </p:nvSpPr>
        <p:spPr bwMode="gray">
          <a:xfrm>
            <a:off x="4617382" y="4469467"/>
            <a:ext cx="21554" cy="17728"/>
          </a:xfrm>
          <a:custGeom>
            <a:avLst/>
            <a:gdLst>
              <a:gd name="T0" fmla="*/ 2 w 6"/>
              <a:gd name="T1" fmla="*/ 0 h 7"/>
              <a:gd name="T2" fmla="*/ 6 w 6"/>
              <a:gd name="T3" fmla="*/ 4 h 7"/>
              <a:gd name="T4" fmla="*/ 2 w 6"/>
              <a:gd name="T5" fmla="*/ 6 h 7"/>
              <a:gd name="T6" fmla="*/ 0 w 6"/>
              <a:gd name="T7" fmla="*/ 2 h 7"/>
              <a:gd name="T8" fmla="*/ 2 w 6"/>
              <a:gd name="T9" fmla="*/ 0 h 7"/>
            </a:gdLst>
            <a:ahLst/>
            <a:cxnLst>
              <a:cxn ang="0">
                <a:pos x="T0" y="T1"/>
              </a:cxn>
              <a:cxn ang="0">
                <a:pos x="T2" y="T3"/>
              </a:cxn>
              <a:cxn ang="0">
                <a:pos x="T4" y="T5"/>
              </a:cxn>
              <a:cxn ang="0">
                <a:pos x="T6" y="T7"/>
              </a:cxn>
              <a:cxn ang="0">
                <a:pos x="T8" y="T9"/>
              </a:cxn>
            </a:cxnLst>
            <a:rect l="0" t="0" r="r" b="b"/>
            <a:pathLst>
              <a:path w="6" h="7">
                <a:moveTo>
                  <a:pt x="2" y="0"/>
                </a:moveTo>
                <a:cubicBezTo>
                  <a:pt x="4" y="0"/>
                  <a:pt x="6" y="1"/>
                  <a:pt x="6" y="4"/>
                </a:cubicBezTo>
                <a:cubicBezTo>
                  <a:pt x="6" y="7"/>
                  <a:pt x="4" y="7"/>
                  <a:pt x="2" y="6"/>
                </a:cubicBezTo>
                <a:cubicBezTo>
                  <a:pt x="1" y="6"/>
                  <a:pt x="0" y="4"/>
                  <a:pt x="0" y="2"/>
                </a:cubicBezTo>
                <a:cubicBezTo>
                  <a:pt x="0" y="0"/>
                  <a:pt x="1" y="0"/>
                  <a:pt x="2" y="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92" name="Freeform 189"/>
          <p:cNvSpPr>
            <a:spLocks/>
          </p:cNvSpPr>
          <p:nvPr>
            <p:custDataLst>
              <p:tags r:id="rId71"/>
            </p:custDataLst>
          </p:nvPr>
        </p:nvSpPr>
        <p:spPr bwMode="gray">
          <a:xfrm>
            <a:off x="4567086" y="4143280"/>
            <a:ext cx="52690" cy="33683"/>
          </a:xfrm>
          <a:custGeom>
            <a:avLst/>
            <a:gdLst>
              <a:gd name="T0" fmla="*/ 14 w 15"/>
              <a:gd name="T1" fmla="*/ 1 h 13"/>
              <a:gd name="T2" fmla="*/ 13 w 15"/>
              <a:gd name="T3" fmla="*/ 8 h 13"/>
              <a:gd name="T4" fmla="*/ 11 w 15"/>
              <a:gd name="T5" fmla="*/ 12 h 13"/>
              <a:gd name="T6" fmla="*/ 7 w 15"/>
              <a:gd name="T7" fmla="*/ 11 h 13"/>
              <a:gd name="T8" fmla="*/ 2 w 15"/>
              <a:gd name="T9" fmla="*/ 9 h 13"/>
              <a:gd name="T10" fmla="*/ 2 w 15"/>
              <a:gd name="T11" fmla="*/ 3 h 13"/>
              <a:gd name="T12" fmla="*/ 9 w 15"/>
              <a:gd name="T13" fmla="*/ 3 h 13"/>
              <a:gd name="T14" fmla="*/ 14 w 15"/>
              <a:gd name="T15" fmla="*/ 1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3">
                <a:moveTo>
                  <a:pt x="14" y="1"/>
                </a:moveTo>
                <a:cubicBezTo>
                  <a:pt x="15" y="2"/>
                  <a:pt x="12" y="6"/>
                  <a:pt x="13" y="8"/>
                </a:cubicBezTo>
                <a:cubicBezTo>
                  <a:pt x="14" y="10"/>
                  <a:pt x="12" y="12"/>
                  <a:pt x="11" y="12"/>
                </a:cubicBezTo>
                <a:cubicBezTo>
                  <a:pt x="11" y="12"/>
                  <a:pt x="8" y="11"/>
                  <a:pt x="7" y="11"/>
                </a:cubicBezTo>
                <a:cubicBezTo>
                  <a:pt x="5" y="11"/>
                  <a:pt x="2" y="13"/>
                  <a:pt x="2" y="9"/>
                </a:cubicBezTo>
                <a:cubicBezTo>
                  <a:pt x="2" y="6"/>
                  <a:pt x="0" y="3"/>
                  <a:pt x="2" y="3"/>
                </a:cubicBezTo>
                <a:cubicBezTo>
                  <a:pt x="4" y="2"/>
                  <a:pt x="8" y="4"/>
                  <a:pt x="9" y="3"/>
                </a:cubicBezTo>
                <a:cubicBezTo>
                  <a:pt x="10" y="2"/>
                  <a:pt x="13" y="0"/>
                  <a:pt x="14" y="1"/>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93" name="Freeform 190"/>
          <p:cNvSpPr>
            <a:spLocks/>
          </p:cNvSpPr>
          <p:nvPr>
            <p:custDataLst>
              <p:tags r:id="rId72"/>
            </p:custDataLst>
          </p:nvPr>
        </p:nvSpPr>
        <p:spPr bwMode="gray">
          <a:xfrm>
            <a:off x="4557507" y="4352464"/>
            <a:ext cx="40714" cy="37228"/>
          </a:xfrm>
          <a:custGeom>
            <a:avLst/>
            <a:gdLst>
              <a:gd name="T0" fmla="*/ 8 w 11"/>
              <a:gd name="T1" fmla="*/ 5 h 13"/>
              <a:gd name="T2" fmla="*/ 11 w 11"/>
              <a:gd name="T3" fmla="*/ 12 h 13"/>
              <a:gd name="T4" fmla="*/ 5 w 11"/>
              <a:gd name="T5" fmla="*/ 10 h 13"/>
              <a:gd name="T6" fmla="*/ 1 w 11"/>
              <a:gd name="T7" fmla="*/ 3 h 13"/>
              <a:gd name="T8" fmla="*/ 3 w 11"/>
              <a:gd name="T9" fmla="*/ 0 h 13"/>
              <a:gd name="T10" fmla="*/ 7 w 11"/>
              <a:gd name="T11" fmla="*/ 0 h 13"/>
              <a:gd name="T12" fmla="*/ 8 w 11"/>
              <a:gd name="T13" fmla="*/ 5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8" y="5"/>
                </a:moveTo>
                <a:cubicBezTo>
                  <a:pt x="8" y="6"/>
                  <a:pt x="11" y="11"/>
                  <a:pt x="11" y="12"/>
                </a:cubicBezTo>
                <a:cubicBezTo>
                  <a:pt x="10" y="13"/>
                  <a:pt x="6" y="11"/>
                  <a:pt x="5" y="10"/>
                </a:cubicBezTo>
                <a:cubicBezTo>
                  <a:pt x="4" y="10"/>
                  <a:pt x="1" y="5"/>
                  <a:pt x="1" y="3"/>
                </a:cubicBezTo>
                <a:cubicBezTo>
                  <a:pt x="0" y="1"/>
                  <a:pt x="1" y="1"/>
                  <a:pt x="3" y="0"/>
                </a:cubicBezTo>
                <a:cubicBezTo>
                  <a:pt x="3" y="0"/>
                  <a:pt x="6" y="0"/>
                  <a:pt x="7" y="0"/>
                </a:cubicBezTo>
                <a:cubicBezTo>
                  <a:pt x="8" y="1"/>
                  <a:pt x="8" y="3"/>
                  <a:pt x="8" y="5"/>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94" name="Freeform 191"/>
          <p:cNvSpPr>
            <a:spLocks/>
          </p:cNvSpPr>
          <p:nvPr>
            <p:custDataLst>
              <p:tags r:id="rId73"/>
            </p:custDataLst>
          </p:nvPr>
        </p:nvSpPr>
        <p:spPr bwMode="gray">
          <a:xfrm>
            <a:off x="4512003" y="4464148"/>
            <a:ext cx="50295" cy="26591"/>
          </a:xfrm>
          <a:custGeom>
            <a:avLst/>
            <a:gdLst>
              <a:gd name="T0" fmla="*/ 8 w 14"/>
              <a:gd name="T1" fmla="*/ 2 h 10"/>
              <a:gd name="T2" fmla="*/ 11 w 14"/>
              <a:gd name="T3" fmla="*/ 2 h 10"/>
              <a:gd name="T4" fmla="*/ 9 w 14"/>
              <a:gd name="T5" fmla="*/ 8 h 10"/>
              <a:gd name="T6" fmla="*/ 2 w 14"/>
              <a:gd name="T7" fmla="*/ 9 h 10"/>
              <a:gd name="T8" fmla="*/ 2 w 14"/>
              <a:gd name="T9" fmla="*/ 4 h 10"/>
              <a:gd name="T10" fmla="*/ 8 w 14"/>
              <a:gd name="T11" fmla="*/ 2 h 10"/>
            </a:gdLst>
            <a:ahLst/>
            <a:cxnLst>
              <a:cxn ang="0">
                <a:pos x="T0" y="T1"/>
              </a:cxn>
              <a:cxn ang="0">
                <a:pos x="T2" y="T3"/>
              </a:cxn>
              <a:cxn ang="0">
                <a:pos x="T4" y="T5"/>
              </a:cxn>
              <a:cxn ang="0">
                <a:pos x="T6" y="T7"/>
              </a:cxn>
              <a:cxn ang="0">
                <a:pos x="T8" y="T9"/>
              </a:cxn>
              <a:cxn ang="0">
                <a:pos x="T10" y="T11"/>
              </a:cxn>
            </a:cxnLst>
            <a:rect l="0" t="0" r="r" b="b"/>
            <a:pathLst>
              <a:path w="14" h="10">
                <a:moveTo>
                  <a:pt x="8" y="2"/>
                </a:moveTo>
                <a:cubicBezTo>
                  <a:pt x="8" y="2"/>
                  <a:pt x="9" y="0"/>
                  <a:pt x="11" y="2"/>
                </a:cubicBezTo>
                <a:cubicBezTo>
                  <a:pt x="14" y="5"/>
                  <a:pt x="11" y="7"/>
                  <a:pt x="9" y="8"/>
                </a:cubicBezTo>
                <a:cubicBezTo>
                  <a:pt x="7" y="9"/>
                  <a:pt x="4" y="10"/>
                  <a:pt x="2" y="9"/>
                </a:cubicBezTo>
                <a:cubicBezTo>
                  <a:pt x="0" y="8"/>
                  <a:pt x="2" y="4"/>
                  <a:pt x="2" y="4"/>
                </a:cubicBezTo>
                <a:cubicBezTo>
                  <a:pt x="2" y="4"/>
                  <a:pt x="6" y="3"/>
                  <a:pt x="8" y="2"/>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95" name="Freeform 192"/>
          <p:cNvSpPr>
            <a:spLocks/>
          </p:cNvSpPr>
          <p:nvPr>
            <p:custDataLst>
              <p:tags r:id="rId74"/>
            </p:custDataLst>
          </p:nvPr>
        </p:nvSpPr>
        <p:spPr bwMode="gray">
          <a:xfrm>
            <a:off x="4523976" y="4423375"/>
            <a:ext cx="23951" cy="24818"/>
          </a:xfrm>
          <a:custGeom>
            <a:avLst/>
            <a:gdLst>
              <a:gd name="T0" fmla="*/ 3 w 7"/>
              <a:gd name="T1" fmla="*/ 0 h 9"/>
              <a:gd name="T2" fmla="*/ 7 w 7"/>
              <a:gd name="T3" fmla="*/ 5 h 9"/>
              <a:gd name="T4" fmla="*/ 2 w 7"/>
              <a:gd name="T5" fmla="*/ 9 h 9"/>
              <a:gd name="T6" fmla="*/ 0 w 7"/>
              <a:gd name="T7" fmla="*/ 2 h 9"/>
              <a:gd name="T8" fmla="*/ 3 w 7"/>
              <a:gd name="T9" fmla="*/ 0 h 9"/>
            </a:gdLst>
            <a:ahLst/>
            <a:cxnLst>
              <a:cxn ang="0">
                <a:pos x="T0" y="T1"/>
              </a:cxn>
              <a:cxn ang="0">
                <a:pos x="T2" y="T3"/>
              </a:cxn>
              <a:cxn ang="0">
                <a:pos x="T4" y="T5"/>
              </a:cxn>
              <a:cxn ang="0">
                <a:pos x="T6" y="T7"/>
              </a:cxn>
              <a:cxn ang="0">
                <a:pos x="T8" y="T9"/>
              </a:cxn>
            </a:cxnLst>
            <a:rect l="0" t="0" r="r" b="b"/>
            <a:pathLst>
              <a:path w="7" h="9">
                <a:moveTo>
                  <a:pt x="3" y="0"/>
                </a:moveTo>
                <a:cubicBezTo>
                  <a:pt x="4" y="0"/>
                  <a:pt x="7" y="3"/>
                  <a:pt x="7" y="5"/>
                </a:cubicBezTo>
                <a:cubicBezTo>
                  <a:pt x="7" y="7"/>
                  <a:pt x="4" y="9"/>
                  <a:pt x="2" y="9"/>
                </a:cubicBezTo>
                <a:cubicBezTo>
                  <a:pt x="0" y="9"/>
                  <a:pt x="0" y="4"/>
                  <a:pt x="0" y="2"/>
                </a:cubicBezTo>
                <a:cubicBezTo>
                  <a:pt x="0" y="0"/>
                  <a:pt x="1" y="0"/>
                  <a:pt x="3" y="0"/>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96" name="Freeform 193"/>
          <p:cNvSpPr>
            <a:spLocks/>
          </p:cNvSpPr>
          <p:nvPr>
            <p:custDataLst>
              <p:tags r:id="rId75"/>
            </p:custDataLst>
          </p:nvPr>
        </p:nvSpPr>
        <p:spPr bwMode="gray">
          <a:xfrm>
            <a:off x="4090481" y="4322327"/>
            <a:ext cx="57480" cy="42547"/>
          </a:xfrm>
          <a:custGeom>
            <a:avLst/>
            <a:gdLst>
              <a:gd name="T0" fmla="*/ 9 w 16"/>
              <a:gd name="T1" fmla="*/ 1 h 16"/>
              <a:gd name="T2" fmla="*/ 15 w 16"/>
              <a:gd name="T3" fmla="*/ 15 h 16"/>
              <a:gd name="T4" fmla="*/ 5 w 16"/>
              <a:gd name="T5" fmla="*/ 15 h 16"/>
              <a:gd name="T6" fmla="*/ 0 w 16"/>
              <a:gd name="T7" fmla="*/ 7 h 16"/>
              <a:gd name="T8" fmla="*/ 9 w 16"/>
              <a:gd name="T9" fmla="*/ 1 h 16"/>
            </a:gdLst>
            <a:ahLst/>
            <a:cxnLst>
              <a:cxn ang="0">
                <a:pos x="T0" y="T1"/>
              </a:cxn>
              <a:cxn ang="0">
                <a:pos x="T2" y="T3"/>
              </a:cxn>
              <a:cxn ang="0">
                <a:pos x="T4" y="T5"/>
              </a:cxn>
              <a:cxn ang="0">
                <a:pos x="T6" y="T7"/>
              </a:cxn>
              <a:cxn ang="0">
                <a:pos x="T8" y="T9"/>
              </a:cxn>
            </a:cxnLst>
            <a:rect l="0" t="0" r="r" b="b"/>
            <a:pathLst>
              <a:path w="16" h="16">
                <a:moveTo>
                  <a:pt x="9" y="1"/>
                </a:moveTo>
                <a:cubicBezTo>
                  <a:pt x="11" y="2"/>
                  <a:pt x="16" y="14"/>
                  <a:pt x="15" y="15"/>
                </a:cubicBezTo>
                <a:cubicBezTo>
                  <a:pt x="14" y="16"/>
                  <a:pt x="8" y="16"/>
                  <a:pt x="5" y="15"/>
                </a:cubicBezTo>
                <a:cubicBezTo>
                  <a:pt x="1" y="14"/>
                  <a:pt x="0" y="10"/>
                  <a:pt x="0" y="7"/>
                </a:cubicBezTo>
                <a:cubicBezTo>
                  <a:pt x="0" y="3"/>
                  <a:pt x="6" y="0"/>
                  <a:pt x="9" y="1"/>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97" name="Freeform 195"/>
          <p:cNvSpPr>
            <a:spLocks/>
          </p:cNvSpPr>
          <p:nvPr>
            <p:custDataLst>
              <p:tags r:id="rId76"/>
            </p:custDataLst>
          </p:nvPr>
        </p:nvSpPr>
        <p:spPr bwMode="gray">
          <a:xfrm>
            <a:off x="4725157" y="4469467"/>
            <a:ext cx="33530" cy="24818"/>
          </a:xfrm>
          <a:custGeom>
            <a:avLst/>
            <a:gdLst>
              <a:gd name="T0" fmla="*/ 3 w 9"/>
              <a:gd name="T1" fmla="*/ 2 h 9"/>
              <a:gd name="T2" fmla="*/ 1 w 9"/>
              <a:gd name="T3" fmla="*/ 6 h 9"/>
              <a:gd name="T4" fmla="*/ 4 w 9"/>
              <a:gd name="T5" fmla="*/ 9 h 9"/>
              <a:gd name="T6" fmla="*/ 9 w 9"/>
              <a:gd name="T7" fmla="*/ 6 h 9"/>
              <a:gd name="T8" fmla="*/ 8 w 9"/>
              <a:gd name="T9" fmla="*/ 2 h 9"/>
              <a:gd name="T10" fmla="*/ 6 w 9"/>
              <a:gd name="T11" fmla="*/ 1 h 9"/>
              <a:gd name="T12" fmla="*/ 3 w 9"/>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3" y="2"/>
                </a:moveTo>
                <a:cubicBezTo>
                  <a:pt x="2" y="3"/>
                  <a:pt x="0" y="5"/>
                  <a:pt x="1" y="6"/>
                </a:cubicBezTo>
                <a:cubicBezTo>
                  <a:pt x="1" y="7"/>
                  <a:pt x="2" y="9"/>
                  <a:pt x="4" y="9"/>
                </a:cubicBezTo>
                <a:cubicBezTo>
                  <a:pt x="6" y="9"/>
                  <a:pt x="8" y="7"/>
                  <a:pt x="9" y="6"/>
                </a:cubicBezTo>
                <a:cubicBezTo>
                  <a:pt x="9" y="5"/>
                  <a:pt x="8" y="2"/>
                  <a:pt x="8" y="2"/>
                </a:cubicBezTo>
                <a:cubicBezTo>
                  <a:pt x="8" y="2"/>
                  <a:pt x="7" y="0"/>
                  <a:pt x="6" y="1"/>
                </a:cubicBezTo>
                <a:cubicBezTo>
                  <a:pt x="5" y="1"/>
                  <a:pt x="3" y="2"/>
                  <a:pt x="3" y="2"/>
                </a:cubicBezTo>
                <a:close/>
              </a:path>
            </a:pathLst>
          </a:custGeom>
          <a:solidFill>
            <a:srgbClr val="CCCCCC"/>
          </a:solidFill>
          <a:ln w="9525" cap="flat">
            <a:solidFill>
              <a:srgbClr val="FFFFFF"/>
            </a:solidFill>
            <a:prstDash val="solid"/>
            <a:miter lim="800000"/>
            <a:headEnd/>
            <a:tailEnd/>
          </a:ln>
        </p:spPr>
        <p:txBody>
          <a:bodyPr/>
          <a:lstStyle/>
          <a:p>
            <a:endParaRPr lang="en-US" dirty="0"/>
          </a:p>
        </p:txBody>
      </p:sp>
      <p:sp>
        <p:nvSpPr>
          <p:cNvPr id="198" name="Freeform 168"/>
          <p:cNvSpPr>
            <a:spLocks/>
          </p:cNvSpPr>
          <p:nvPr>
            <p:custDataLst>
              <p:tags r:id="rId77"/>
            </p:custDataLst>
          </p:nvPr>
        </p:nvSpPr>
        <p:spPr bwMode="gray">
          <a:xfrm flipH="1">
            <a:off x="6553668" y="3889466"/>
            <a:ext cx="106064" cy="115185"/>
          </a:xfrm>
          <a:custGeom>
            <a:avLst/>
            <a:gdLst>
              <a:gd name="T0" fmla="*/ 27 w 29"/>
              <a:gd name="T1" fmla="*/ 12 h 60"/>
              <a:gd name="T2" fmla="*/ 27 w 29"/>
              <a:gd name="T3" fmla="*/ 33 h 60"/>
              <a:gd name="T4" fmla="*/ 21 w 29"/>
              <a:gd name="T5" fmla="*/ 44 h 60"/>
              <a:gd name="T6" fmla="*/ 13 w 29"/>
              <a:gd name="T7" fmla="*/ 60 h 60"/>
              <a:gd name="T8" fmla="*/ 5 w 29"/>
              <a:gd name="T9" fmla="*/ 54 h 60"/>
              <a:gd name="T10" fmla="*/ 2 w 29"/>
              <a:gd name="T11" fmla="*/ 48 h 60"/>
              <a:gd name="T12" fmla="*/ 7 w 29"/>
              <a:gd name="T13" fmla="*/ 39 h 60"/>
              <a:gd name="T14" fmla="*/ 1 w 29"/>
              <a:gd name="T15" fmla="*/ 29 h 60"/>
              <a:gd name="T16" fmla="*/ 9 w 29"/>
              <a:gd name="T17" fmla="*/ 14 h 60"/>
              <a:gd name="T18" fmla="*/ 18 w 29"/>
              <a:gd name="T19" fmla="*/ 11 h 60"/>
              <a:gd name="T20" fmla="*/ 23 w 29"/>
              <a:gd name="T21" fmla="*/ 0 h 60"/>
              <a:gd name="T22" fmla="*/ 27 w 29"/>
              <a:gd name="T2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0">
                <a:moveTo>
                  <a:pt x="27" y="12"/>
                </a:moveTo>
                <a:cubicBezTo>
                  <a:pt x="28" y="18"/>
                  <a:pt x="29" y="27"/>
                  <a:pt x="27" y="33"/>
                </a:cubicBezTo>
                <a:cubicBezTo>
                  <a:pt x="26" y="39"/>
                  <a:pt x="21" y="42"/>
                  <a:pt x="21" y="44"/>
                </a:cubicBezTo>
                <a:cubicBezTo>
                  <a:pt x="21" y="47"/>
                  <a:pt x="17" y="60"/>
                  <a:pt x="13" y="60"/>
                </a:cubicBezTo>
                <a:cubicBezTo>
                  <a:pt x="9" y="60"/>
                  <a:pt x="7" y="56"/>
                  <a:pt x="5" y="54"/>
                </a:cubicBezTo>
                <a:cubicBezTo>
                  <a:pt x="2" y="51"/>
                  <a:pt x="2" y="48"/>
                  <a:pt x="2" y="48"/>
                </a:cubicBezTo>
                <a:cubicBezTo>
                  <a:pt x="2" y="42"/>
                  <a:pt x="9" y="42"/>
                  <a:pt x="7" y="39"/>
                </a:cubicBezTo>
                <a:cubicBezTo>
                  <a:pt x="5" y="36"/>
                  <a:pt x="0" y="32"/>
                  <a:pt x="1" y="29"/>
                </a:cubicBezTo>
                <a:cubicBezTo>
                  <a:pt x="3" y="26"/>
                  <a:pt x="5" y="15"/>
                  <a:pt x="9" y="14"/>
                </a:cubicBezTo>
                <a:cubicBezTo>
                  <a:pt x="14" y="12"/>
                  <a:pt x="17" y="14"/>
                  <a:pt x="18" y="11"/>
                </a:cubicBezTo>
                <a:cubicBezTo>
                  <a:pt x="19" y="8"/>
                  <a:pt x="17" y="1"/>
                  <a:pt x="23" y="0"/>
                </a:cubicBezTo>
                <a:cubicBezTo>
                  <a:pt x="28" y="0"/>
                  <a:pt x="27" y="5"/>
                  <a:pt x="27" y="12"/>
                </a:cubicBezTo>
                <a:close/>
              </a:path>
            </a:pathLst>
          </a:custGeom>
          <a:solidFill>
            <a:srgbClr val="00AFD0"/>
          </a:solidFill>
          <a:ln w="9525" cap="flat">
            <a:solidFill>
              <a:schemeClr val="bg1"/>
            </a:solidFill>
            <a:prstDash val="solid"/>
            <a:miter lim="800000"/>
            <a:headEnd/>
            <a:tailEnd/>
          </a:ln>
        </p:spPr>
        <p:txBody>
          <a:bodyPr/>
          <a:lstStyle/>
          <a:p>
            <a:endParaRPr lang="en-US" dirty="0"/>
          </a:p>
        </p:txBody>
      </p:sp>
      <p:pic>
        <p:nvPicPr>
          <p:cNvPr id="199" name="Picture 45" descr="Z:\Corporate Design on BRAIN\UniCredit Bulbank\Brand UniCredit Bulbank JPG\UCBb 3D small.jpg"/>
          <p:cNvPicPr>
            <a:picLocks noChangeAspect="1" noChangeArrowheads="1"/>
          </p:cNvPicPr>
          <p:nvPr/>
        </p:nvPicPr>
        <p:blipFill>
          <a:blip r:embed="rId79" cstate="print">
            <a:extLst>
              <a:ext uri="{28A0092B-C50C-407E-A947-70E740481C1C}">
                <a14:useLocalDpi xmlns:a14="http://schemas.microsoft.com/office/drawing/2010/main" val="0"/>
              </a:ext>
            </a:extLst>
          </a:blip>
          <a:srcRect l="6113" t="22450" r="5849" b="26556"/>
          <a:stretch>
            <a:fillRect/>
          </a:stretch>
        </p:blipFill>
        <p:spPr bwMode="auto">
          <a:xfrm>
            <a:off x="6967039" y="3201819"/>
            <a:ext cx="1282818" cy="129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0" name="Picture 46" descr="Z:\Corporate Design on BRAIN\UniCredit Bank CIRILLICO\Brand UniCredit Bank CYR JPG\UC Bank CYR CMYK VET small.jpg"/>
          <p:cNvPicPr>
            <a:picLocks noChangeAspect="1" noChangeArrowheads="1"/>
          </p:cNvPicPr>
          <p:nvPr/>
        </p:nvPicPr>
        <p:blipFill>
          <a:blip r:embed="rId80" cstate="print">
            <a:extLst>
              <a:ext uri="{28A0092B-C50C-407E-A947-70E740481C1C}">
                <a14:useLocalDpi xmlns:a14="http://schemas.microsoft.com/office/drawing/2010/main" val="0"/>
              </a:ext>
            </a:extLst>
          </a:blip>
          <a:srcRect l="3061" t="15913" r="3995" b="14630"/>
          <a:stretch>
            <a:fillRect/>
          </a:stretch>
        </p:blipFill>
        <p:spPr bwMode="auto">
          <a:xfrm>
            <a:off x="6369845" y="1065465"/>
            <a:ext cx="1287298" cy="141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1" name="Picture 47" descr="Z:\Corporate Design on BRAIN\UniCredit Bank\Brand UniCredit Bank PNG\UCBk.png"/>
          <p:cNvPicPr>
            <a:picLocks noChangeAspect="1" noChangeArrowheads="1"/>
          </p:cNvPicPr>
          <p:nvPr/>
        </p:nvPicPr>
        <p:blipFill>
          <a:blip r:embed="rId81" cstate="print">
            <a:extLst>
              <a:ext uri="{28A0092B-C50C-407E-A947-70E740481C1C}">
                <a14:useLocalDpi xmlns:a14="http://schemas.microsoft.com/office/drawing/2010/main" val="0"/>
              </a:ext>
            </a:extLst>
          </a:blip>
          <a:srcRect t="2" r="3622" b="3227"/>
          <a:stretch>
            <a:fillRect/>
          </a:stretch>
        </p:blipFill>
        <p:spPr bwMode="auto">
          <a:xfrm>
            <a:off x="7211817" y="1879596"/>
            <a:ext cx="1158867" cy="152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2" name="Picture 48" descr="Z:\Corporate Design on BRAIN\Yapi Kredi\yapi kredi\YKB-YENI-colour.jpg"/>
          <p:cNvPicPr>
            <a:picLocks noChangeAspect="1" noChangeArrowheads="1"/>
          </p:cNvPicPr>
          <p:nvPr/>
        </p:nvPicPr>
        <p:blipFill>
          <a:blip r:embed="rId82" cstate="print">
            <a:extLst>
              <a:ext uri="{28A0092B-C50C-407E-A947-70E740481C1C}">
                <a14:useLocalDpi xmlns:a14="http://schemas.microsoft.com/office/drawing/2010/main" val="0"/>
              </a:ext>
            </a:extLst>
          </a:blip>
          <a:srcRect l="8101" t="24344" r="7376" b="23918"/>
          <a:stretch>
            <a:fillRect/>
          </a:stretch>
        </p:blipFill>
        <p:spPr bwMode="auto">
          <a:xfrm>
            <a:off x="7280842" y="3466477"/>
            <a:ext cx="1008036" cy="149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03" name="Connettore 1 3"/>
          <p:cNvCxnSpPr>
            <a:cxnSpLocks noChangeShapeType="1"/>
          </p:cNvCxnSpPr>
          <p:nvPr/>
        </p:nvCxnSpPr>
        <p:spPr bwMode="auto">
          <a:xfrm flipV="1">
            <a:off x="5537283" y="1228858"/>
            <a:ext cx="1382129" cy="785198"/>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4" name="Connettore 1 58"/>
          <p:cNvCxnSpPr>
            <a:cxnSpLocks noChangeShapeType="1"/>
            <a:stCxn id="230" idx="1"/>
          </p:cNvCxnSpPr>
          <p:nvPr/>
        </p:nvCxnSpPr>
        <p:spPr bwMode="auto">
          <a:xfrm flipH="1" flipV="1">
            <a:off x="1302011" y="1990205"/>
            <a:ext cx="1835044" cy="1099613"/>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5" name="Connettore 1 61"/>
          <p:cNvCxnSpPr>
            <a:cxnSpLocks noChangeShapeType="1"/>
          </p:cNvCxnSpPr>
          <p:nvPr/>
        </p:nvCxnSpPr>
        <p:spPr bwMode="auto">
          <a:xfrm flipH="1" flipV="1">
            <a:off x="1449142" y="2707345"/>
            <a:ext cx="2106639" cy="685346"/>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6" name="Connettore 1 67"/>
          <p:cNvCxnSpPr>
            <a:cxnSpLocks noChangeShapeType="1"/>
            <a:stCxn id="215" idx="2"/>
          </p:cNvCxnSpPr>
          <p:nvPr/>
        </p:nvCxnSpPr>
        <p:spPr bwMode="auto">
          <a:xfrm flipH="1" flipV="1">
            <a:off x="1809608" y="3214874"/>
            <a:ext cx="1931378" cy="396341"/>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7" name="Connettore 1 70"/>
          <p:cNvCxnSpPr>
            <a:cxnSpLocks noChangeShapeType="1"/>
            <a:stCxn id="216" idx="1"/>
            <a:endCxn id="202" idx="1"/>
          </p:cNvCxnSpPr>
          <p:nvPr/>
        </p:nvCxnSpPr>
        <p:spPr bwMode="auto">
          <a:xfrm flipV="1">
            <a:off x="5647812" y="3541366"/>
            <a:ext cx="1633030" cy="586844"/>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8" name="Connettore 1 71"/>
          <p:cNvCxnSpPr>
            <a:cxnSpLocks noChangeShapeType="1"/>
            <a:stCxn id="214" idx="1"/>
          </p:cNvCxnSpPr>
          <p:nvPr/>
        </p:nvCxnSpPr>
        <p:spPr bwMode="auto">
          <a:xfrm flipV="1">
            <a:off x="4626183" y="3297674"/>
            <a:ext cx="2383953" cy="572229"/>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9" name="Connettore 1 76"/>
          <p:cNvCxnSpPr>
            <a:cxnSpLocks noChangeShapeType="1"/>
          </p:cNvCxnSpPr>
          <p:nvPr/>
        </p:nvCxnSpPr>
        <p:spPr bwMode="auto">
          <a:xfrm flipV="1">
            <a:off x="1177345" y="3568833"/>
            <a:ext cx="2071293" cy="140435"/>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0" name="Connettore 1 80"/>
          <p:cNvCxnSpPr>
            <a:cxnSpLocks noChangeShapeType="1"/>
            <a:stCxn id="233" idx="2"/>
          </p:cNvCxnSpPr>
          <p:nvPr/>
        </p:nvCxnSpPr>
        <p:spPr bwMode="auto">
          <a:xfrm flipV="1">
            <a:off x="4478629" y="2031643"/>
            <a:ext cx="3821253" cy="1525724"/>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1" name="Rettangolo 115"/>
          <p:cNvSpPr>
            <a:spLocks noChangeArrowheads="1"/>
          </p:cNvSpPr>
          <p:nvPr/>
        </p:nvSpPr>
        <p:spPr bwMode="auto">
          <a:xfrm flipH="1">
            <a:off x="5537282" y="1978226"/>
            <a:ext cx="64809" cy="35830"/>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sp>
        <p:nvSpPr>
          <p:cNvPr id="212" name="Rettangolo 119"/>
          <p:cNvSpPr>
            <a:spLocks noChangeArrowheads="1"/>
          </p:cNvSpPr>
          <p:nvPr/>
        </p:nvSpPr>
        <p:spPr bwMode="auto">
          <a:xfrm>
            <a:off x="3213511" y="3550663"/>
            <a:ext cx="45719" cy="34289"/>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sp>
        <p:nvSpPr>
          <p:cNvPr id="213" name="Rettangolo 120"/>
          <p:cNvSpPr>
            <a:spLocks noChangeArrowheads="1"/>
          </p:cNvSpPr>
          <p:nvPr/>
        </p:nvSpPr>
        <p:spPr bwMode="auto">
          <a:xfrm flipV="1">
            <a:off x="4037177" y="3247452"/>
            <a:ext cx="43309" cy="32906"/>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sp>
        <p:nvSpPr>
          <p:cNvPr id="214" name="Rettangolo 122"/>
          <p:cNvSpPr>
            <a:spLocks noChangeArrowheads="1"/>
          </p:cNvSpPr>
          <p:nvPr/>
        </p:nvSpPr>
        <p:spPr bwMode="auto">
          <a:xfrm flipV="1">
            <a:off x="4626183" y="3853450"/>
            <a:ext cx="41815" cy="32906"/>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sp>
        <p:nvSpPr>
          <p:cNvPr id="215" name="Rettangolo 126"/>
          <p:cNvSpPr>
            <a:spLocks noChangeArrowheads="1"/>
          </p:cNvSpPr>
          <p:nvPr/>
        </p:nvSpPr>
        <p:spPr bwMode="auto">
          <a:xfrm flipH="1" flipV="1">
            <a:off x="3718128" y="3611215"/>
            <a:ext cx="45719" cy="34289"/>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sp>
        <p:nvSpPr>
          <p:cNvPr id="216" name="Rettangolo 127"/>
          <p:cNvSpPr>
            <a:spLocks noChangeArrowheads="1"/>
          </p:cNvSpPr>
          <p:nvPr/>
        </p:nvSpPr>
        <p:spPr bwMode="auto">
          <a:xfrm flipH="1" flipV="1">
            <a:off x="5602094" y="4108334"/>
            <a:ext cx="45719" cy="39750"/>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pic>
        <p:nvPicPr>
          <p:cNvPr id="217" name="Picture 64"/>
          <p:cNvPicPr>
            <a:picLocks noChangeAspect="1" noChangeArrowheads="1"/>
          </p:cNvPicPr>
          <p:nvPr/>
        </p:nvPicPr>
        <p:blipFill>
          <a:blip r:embed="rId83" cstate="print">
            <a:extLst>
              <a:ext uri="{28A0092B-C50C-407E-A947-70E740481C1C}">
                <a14:useLocalDpi xmlns:a14="http://schemas.microsoft.com/office/drawing/2010/main" val="0"/>
              </a:ext>
            </a:extLst>
          </a:blip>
          <a:srcRect l="22641" t="42168" r="23134" b="44926"/>
          <a:stretch>
            <a:fillRect/>
          </a:stretch>
        </p:blipFill>
        <p:spPr bwMode="auto">
          <a:xfrm>
            <a:off x="7211817" y="2806894"/>
            <a:ext cx="1184255" cy="1838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18" name="Connettore 1 199"/>
          <p:cNvCxnSpPr>
            <a:cxnSpLocks noChangeShapeType="1"/>
            <a:stCxn id="227" idx="3"/>
            <a:endCxn id="201" idx="2"/>
          </p:cNvCxnSpPr>
          <p:nvPr/>
        </p:nvCxnSpPr>
        <p:spPr bwMode="auto">
          <a:xfrm flipV="1">
            <a:off x="4005758" y="2031643"/>
            <a:ext cx="3785492" cy="141620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19" name="Picture 52" descr="Z:\Corporate Design on BRAIN\Zagrebacka banka\Brand Zagrebacka banka JPG\ZB UG 3D small.jpg"/>
          <p:cNvPicPr>
            <a:picLocks noChangeAspect="1" noChangeArrowheads="1"/>
          </p:cNvPicPr>
          <p:nvPr/>
        </p:nvPicPr>
        <p:blipFill>
          <a:blip r:embed="rId84" cstate="print">
            <a:extLst>
              <a:ext uri="{28A0092B-C50C-407E-A947-70E740481C1C}">
                <a14:useLocalDpi xmlns:a14="http://schemas.microsoft.com/office/drawing/2010/main" val="0"/>
              </a:ext>
            </a:extLst>
          </a:blip>
          <a:srcRect l="9138" t="25189" r="7475" b="22954"/>
          <a:stretch>
            <a:fillRect/>
          </a:stretch>
        </p:blipFill>
        <p:spPr bwMode="auto">
          <a:xfrm>
            <a:off x="414224" y="3238374"/>
            <a:ext cx="1317166" cy="187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0" name="Picture 59"/>
          <p:cNvPicPr>
            <a:picLocks noChangeAspect="1" noChangeArrowheads="1"/>
          </p:cNvPicPr>
          <p:nvPr/>
        </p:nvPicPr>
        <p:blipFill>
          <a:blip r:embed="rId85" cstate="print">
            <a:extLst>
              <a:ext uri="{28A0092B-C50C-407E-A947-70E740481C1C}">
                <a14:useLocalDpi xmlns:a14="http://schemas.microsoft.com/office/drawing/2010/main" val="0"/>
              </a:ext>
            </a:extLst>
          </a:blip>
          <a:srcRect l="7489" t="38809" r="12967" b="42326"/>
          <a:stretch>
            <a:fillRect/>
          </a:stretch>
        </p:blipFill>
        <p:spPr bwMode="auto">
          <a:xfrm>
            <a:off x="310682" y="3559489"/>
            <a:ext cx="804934" cy="1236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1" name="Picture 62"/>
          <p:cNvPicPr>
            <a:picLocks noChangeAspect="1" noChangeArrowheads="1"/>
          </p:cNvPicPr>
          <p:nvPr/>
        </p:nvPicPr>
        <p:blipFill>
          <a:blip r:embed="rId86" cstate="print">
            <a:extLst>
              <a:ext uri="{28A0092B-C50C-407E-A947-70E740481C1C}">
                <a14:useLocalDpi xmlns:a14="http://schemas.microsoft.com/office/drawing/2010/main" val="0"/>
              </a:ext>
            </a:extLst>
          </a:blip>
          <a:srcRect l="4858" t="36050" r="3055" b="36653"/>
          <a:stretch>
            <a:fillRect/>
          </a:stretch>
        </p:blipFill>
        <p:spPr bwMode="auto">
          <a:xfrm>
            <a:off x="387342" y="1763291"/>
            <a:ext cx="1202176" cy="2326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2" name="Picture 53" descr="Z:\Corporate Design on BRAIN\Schoellerbank\Brand Schoellerbank PB JPG\SB PB 3D small.jpg"/>
          <p:cNvPicPr>
            <a:picLocks noChangeAspect="1" noChangeArrowheads="1"/>
          </p:cNvPicPr>
          <p:nvPr/>
        </p:nvPicPr>
        <p:blipFill>
          <a:blip r:embed="rId87" cstate="print">
            <a:extLst>
              <a:ext uri="{28A0092B-C50C-407E-A947-70E740481C1C}">
                <a14:useLocalDpi xmlns:a14="http://schemas.microsoft.com/office/drawing/2010/main" val="0"/>
              </a:ext>
            </a:extLst>
          </a:blip>
          <a:srcRect l="5679" t="27945" r="3741" b="22954"/>
          <a:stretch>
            <a:fillRect/>
          </a:stretch>
        </p:blipFill>
        <p:spPr bwMode="auto">
          <a:xfrm>
            <a:off x="478439" y="2735712"/>
            <a:ext cx="961740" cy="166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3" name="Picture 61"/>
          <p:cNvPicPr>
            <a:picLocks noChangeAspect="1" noChangeArrowheads="1"/>
          </p:cNvPicPr>
          <p:nvPr/>
        </p:nvPicPr>
        <p:blipFill>
          <a:blip r:embed="rId88" cstate="print">
            <a:extLst>
              <a:ext uri="{28A0092B-C50C-407E-A947-70E740481C1C}">
                <a14:useLocalDpi xmlns:a14="http://schemas.microsoft.com/office/drawing/2010/main" val="0"/>
              </a:ext>
            </a:extLst>
          </a:blip>
          <a:srcRect l="6125" t="32297" r="3963" b="33662"/>
          <a:stretch>
            <a:fillRect/>
          </a:stretch>
        </p:blipFill>
        <p:spPr bwMode="auto">
          <a:xfrm>
            <a:off x="487400" y="2483813"/>
            <a:ext cx="961740" cy="2371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4" name="Picture 65"/>
          <p:cNvPicPr>
            <a:picLocks noChangeAspect="1" noChangeArrowheads="1"/>
          </p:cNvPicPr>
          <p:nvPr/>
        </p:nvPicPr>
        <p:blipFill>
          <a:blip r:embed="rId89" cstate="print">
            <a:extLst>
              <a:ext uri="{28A0092B-C50C-407E-A947-70E740481C1C}">
                <a14:useLocalDpi xmlns:a14="http://schemas.microsoft.com/office/drawing/2010/main" val="0"/>
              </a:ext>
            </a:extLst>
          </a:blip>
          <a:srcRect l="876" t="25804" r="972" b="26295"/>
          <a:stretch>
            <a:fillRect/>
          </a:stretch>
        </p:blipFill>
        <p:spPr bwMode="auto">
          <a:xfrm>
            <a:off x="323529" y="3717698"/>
            <a:ext cx="740719" cy="2360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5" name="Picture 58"/>
          <p:cNvPicPr>
            <a:picLocks noChangeAspect="1" noChangeArrowheads="1"/>
          </p:cNvPicPr>
          <p:nvPr/>
        </p:nvPicPr>
        <p:blipFill>
          <a:blip r:embed="rId90">
            <a:extLst>
              <a:ext uri="{28A0092B-C50C-407E-A947-70E740481C1C}">
                <a14:useLocalDpi xmlns:a14="http://schemas.microsoft.com/office/drawing/2010/main" val="0"/>
              </a:ext>
            </a:extLst>
          </a:blip>
          <a:srcRect/>
          <a:stretch>
            <a:fillRect/>
          </a:stretch>
        </p:blipFill>
        <p:spPr bwMode="auto">
          <a:xfrm>
            <a:off x="258911" y="1292722"/>
            <a:ext cx="1181268" cy="15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A8A8A"/>
                  </a:outerShdw>
                </a:effectLst>
              </a14:hiddenEffects>
            </a:ext>
          </a:extLst>
        </p:spPr>
      </p:pic>
      <p:sp>
        <p:nvSpPr>
          <p:cNvPr id="226" name="Rettangolo 123"/>
          <p:cNvSpPr>
            <a:spLocks noChangeArrowheads="1"/>
          </p:cNvSpPr>
          <p:nvPr/>
        </p:nvSpPr>
        <p:spPr bwMode="auto">
          <a:xfrm flipV="1">
            <a:off x="3544452" y="3376805"/>
            <a:ext cx="41815" cy="31771"/>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sp>
        <p:nvSpPr>
          <p:cNvPr id="227" name="Rettangolo 38"/>
          <p:cNvSpPr>
            <a:spLocks noChangeArrowheads="1"/>
          </p:cNvSpPr>
          <p:nvPr/>
        </p:nvSpPr>
        <p:spPr bwMode="auto">
          <a:xfrm>
            <a:off x="3962449" y="3431389"/>
            <a:ext cx="43309" cy="32906"/>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sp>
        <p:nvSpPr>
          <p:cNvPr id="228" name="Rettangolo 8"/>
          <p:cNvSpPr/>
          <p:nvPr/>
        </p:nvSpPr>
        <p:spPr bwMode="gray">
          <a:xfrm>
            <a:off x="3582921" y="3526732"/>
            <a:ext cx="45719" cy="43911"/>
          </a:xfrm>
          <a:prstGeom prst="rect">
            <a:avLst/>
          </a:prstGeom>
          <a:solidFill>
            <a:srgbClr val="00A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solidFill>
                <a:schemeClr val="bg1"/>
              </a:solidFill>
            </a:endParaRPr>
          </a:p>
        </p:txBody>
      </p:sp>
      <p:sp>
        <p:nvSpPr>
          <p:cNvPr id="229" name="Rettangolo 125"/>
          <p:cNvSpPr>
            <a:spLocks noChangeArrowheads="1"/>
          </p:cNvSpPr>
          <p:nvPr/>
        </p:nvSpPr>
        <p:spPr bwMode="auto">
          <a:xfrm flipH="1">
            <a:off x="3560058" y="3177668"/>
            <a:ext cx="45719" cy="34289"/>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sp>
        <p:nvSpPr>
          <p:cNvPr id="230" name="Rettangolo 125"/>
          <p:cNvSpPr>
            <a:spLocks noChangeArrowheads="1"/>
          </p:cNvSpPr>
          <p:nvPr/>
        </p:nvSpPr>
        <p:spPr bwMode="auto">
          <a:xfrm>
            <a:off x="3137056" y="3065442"/>
            <a:ext cx="45719" cy="48751"/>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cxnSp>
        <p:nvCxnSpPr>
          <p:cNvPr id="231" name="Connettore 1 52"/>
          <p:cNvCxnSpPr>
            <a:stCxn id="153" idx="13"/>
          </p:cNvCxnSpPr>
          <p:nvPr/>
        </p:nvCxnSpPr>
        <p:spPr>
          <a:xfrm flipV="1">
            <a:off x="3799331" y="2949326"/>
            <a:ext cx="3580981" cy="866546"/>
          </a:xfrm>
          <a:prstGeom prst="line">
            <a:avLst/>
          </a:prstGeom>
          <a:ln w="12700">
            <a:solidFill>
              <a:schemeClr val="tx1"/>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32" name="Connettore 1 43039"/>
          <p:cNvCxnSpPr>
            <a:endCxn id="229" idx="2"/>
          </p:cNvCxnSpPr>
          <p:nvPr/>
        </p:nvCxnSpPr>
        <p:spPr>
          <a:xfrm>
            <a:off x="1115617" y="1466452"/>
            <a:ext cx="2467301" cy="1745505"/>
          </a:xfrm>
          <a:prstGeom prst="line">
            <a:avLst/>
          </a:prstGeom>
          <a:ln w="12700">
            <a:solidFill>
              <a:schemeClr val="tx1"/>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233" name="Rettangolo 38"/>
          <p:cNvSpPr>
            <a:spLocks noChangeArrowheads="1"/>
          </p:cNvSpPr>
          <p:nvPr/>
        </p:nvSpPr>
        <p:spPr bwMode="auto">
          <a:xfrm>
            <a:off x="4456975" y="3524461"/>
            <a:ext cx="43309" cy="32906"/>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sp>
        <p:nvSpPr>
          <p:cNvPr id="234" name="Rettangolo 120"/>
          <p:cNvSpPr>
            <a:spLocks noChangeArrowheads="1"/>
          </p:cNvSpPr>
          <p:nvPr/>
        </p:nvSpPr>
        <p:spPr bwMode="auto">
          <a:xfrm flipH="1">
            <a:off x="3811463" y="3779863"/>
            <a:ext cx="47899" cy="34289"/>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pic>
        <p:nvPicPr>
          <p:cNvPr id="235" name="Picture 58"/>
          <p:cNvPicPr>
            <a:picLocks noChangeAspect="1" noChangeArrowheads="1"/>
          </p:cNvPicPr>
          <p:nvPr/>
        </p:nvPicPr>
        <p:blipFill>
          <a:blip r:embed="rId90">
            <a:extLst>
              <a:ext uri="{28A0092B-C50C-407E-A947-70E740481C1C}">
                <a14:useLocalDpi xmlns:a14="http://schemas.microsoft.com/office/drawing/2010/main" val="0"/>
              </a:ext>
            </a:extLst>
          </a:blip>
          <a:srcRect/>
          <a:stretch>
            <a:fillRect/>
          </a:stretch>
        </p:blipFill>
        <p:spPr bwMode="auto">
          <a:xfrm>
            <a:off x="1201844" y="4401423"/>
            <a:ext cx="1181268" cy="15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A8A8A"/>
                  </a:outerShdw>
                </a:effectLst>
              </a14:hiddenEffects>
            </a:ext>
          </a:extLst>
        </p:spPr>
      </p:pic>
      <p:cxnSp>
        <p:nvCxnSpPr>
          <p:cNvPr id="236" name="Connettore 1 43051"/>
          <p:cNvCxnSpPr/>
          <p:nvPr/>
        </p:nvCxnSpPr>
        <p:spPr>
          <a:xfrm flipV="1">
            <a:off x="2117001" y="3794044"/>
            <a:ext cx="2030961" cy="629330"/>
          </a:xfrm>
          <a:prstGeom prst="line">
            <a:avLst/>
          </a:prstGeom>
          <a:ln w="12700">
            <a:solidFill>
              <a:schemeClr val="tx1"/>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237" name="Rettangolo 125"/>
          <p:cNvSpPr>
            <a:spLocks noChangeArrowheads="1"/>
          </p:cNvSpPr>
          <p:nvPr/>
        </p:nvSpPr>
        <p:spPr bwMode="auto">
          <a:xfrm flipH="1" flipV="1">
            <a:off x="4152223" y="3753924"/>
            <a:ext cx="45719" cy="34289"/>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sp>
        <p:nvSpPr>
          <p:cNvPr id="238" name="Rettangolo 126"/>
          <p:cNvSpPr>
            <a:spLocks noChangeArrowheads="1"/>
          </p:cNvSpPr>
          <p:nvPr/>
        </p:nvSpPr>
        <p:spPr bwMode="auto">
          <a:xfrm flipH="1" flipV="1">
            <a:off x="3601578" y="3510355"/>
            <a:ext cx="45719" cy="34289"/>
          </a:xfrm>
          <a:prstGeom prst="rect">
            <a:avLst/>
          </a:prstGeom>
          <a:solidFill>
            <a:schemeClr val="tx1"/>
          </a:solidFill>
          <a:ln w="9525" algn="ctr">
            <a:solidFill>
              <a:schemeClr val="tx1"/>
            </a:solidFill>
            <a:round/>
            <a:headEnd/>
            <a:tailEnd/>
          </a:ln>
        </p:spPr>
        <p:txBody>
          <a:bodyPr lIns="86468" tIns="43235" rIns="86468" bIns="43235"/>
          <a:lstStyle/>
          <a:p>
            <a:pPr eaLnBrk="0" hangingPunct="0"/>
            <a:endParaRPr lang="en-US" altLang="en-US" dirty="0"/>
          </a:p>
        </p:txBody>
      </p:sp>
      <p:cxnSp>
        <p:nvCxnSpPr>
          <p:cNvPr id="239" name="Connettore 1 199"/>
          <p:cNvCxnSpPr>
            <a:cxnSpLocks noChangeShapeType="1"/>
            <a:stCxn id="238" idx="1"/>
          </p:cNvCxnSpPr>
          <p:nvPr/>
        </p:nvCxnSpPr>
        <p:spPr bwMode="auto">
          <a:xfrm flipV="1">
            <a:off x="3647296" y="2014056"/>
            <a:ext cx="3885416" cy="1513443"/>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0" name="Connettore 1 136"/>
          <p:cNvCxnSpPr>
            <a:endCxn id="143" idx="20"/>
          </p:cNvCxnSpPr>
          <p:nvPr/>
        </p:nvCxnSpPr>
        <p:spPr>
          <a:xfrm>
            <a:off x="1440179" y="1466452"/>
            <a:ext cx="2593383" cy="1792651"/>
          </a:xfrm>
          <a:prstGeom prst="line">
            <a:avLst/>
          </a:prstGeom>
          <a:ln w="12700">
            <a:solidFill>
              <a:schemeClr val="tx1"/>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92028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ttangolo arrotondato 59"/>
          <p:cNvSpPr/>
          <p:nvPr/>
        </p:nvSpPr>
        <p:spPr>
          <a:xfrm>
            <a:off x="223839" y="812908"/>
            <a:ext cx="8711063" cy="3675273"/>
          </a:xfrm>
          <a:prstGeom prst="roundRect">
            <a:avLst>
              <a:gd name="adj" fmla="val 1712"/>
            </a:avLst>
          </a:prstGeom>
          <a:noFill/>
          <a:ln w="25400" cap="flat" cmpd="sng" algn="ctr">
            <a:solidFill>
              <a:srgbClr val="C2E5EE"/>
            </a:solidFill>
            <a:prstDash val="solid"/>
          </a:ln>
          <a:effectLst/>
        </p:spPr>
        <p:txBody>
          <a:bodyPr rot="0" spcFirstLastPara="0" vertOverflow="overflow" horzOverflow="overflow" vert="horz" wrap="square" lIns="883512" tIns="31554" rIns="63108" bIns="31554" numCol="1" spcCol="0" rtlCol="0" fromWordArt="0" anchor="ctr" anchorCtr="0" forceAA="0" compatLnSpc="1">
            <a:prstTxWarp prst="textNoShape">
              <a:avLst/>
            </a:prstTxWarp>
            <a:noAutofit/>
          </a:bodyPr>
          <a:lstStyle/>
          <a:p>
            <a:pPr defTabSz="801472">
              <a:buClr>
                <a:srgbClr val="FF0000"/>
              </a:buClr>
              <a:defRPr/>
            </a:pPr>
            <a:endParaRPr lang="en-US" sz="1200" kern="0" dirty="0">
              <a:solidFill>
                <a:srgbClr val="000000"/>
              </a:solidFill>
              <a:latin typeface="UniCredit" pitchFamily="50" charset="0"/>
            </a:endParaRPr>
          </a:p>
        </p:txBody>
      </p:sp>
      <p:sp>
        <p:nvSpPr>
          <p:cNvPr id="4" name="Segnaposto numero diapositiva 3"/>
          <p:cNvSpPr>
            <a:spLocks noGrp="1"/>
          </p:cNvSpPr>
          <p:nvPr>
            <p:ph type="sldNum" sz="quarter" idx="4"/>
          </p:nvPr>
        </p:nvSpPr>
        <p:spPr/>
        <p:txBody>
          <a:bodyPr/>
          <a:lstStyle/>
          <a:p>
            <a:fld id="{9DEDD76A-7D96-6F4D-9EDC-9FC108E5A9F9}" type="slidenum">
              <a:rPr lang="en-GB"/>
              <a:pPr/>
              <a:t>3</a:t>
            </a:fld>
            <a:endParaRPr lang="en-GB" dirty="0"/>
          </a:p>
        </p:txBody>
      </p:sp>
      <p:sp>
        <p:nvSpPr>
          <p:cNvPr id="5" name="Titolo 4"/>
          <p:cNvSpPr>
            <a:spLocks noGrp="1"/>
          </p:cNvSpPr>
          <p:nvPr>
            <p:ph type="title"/>
          </p:nvPr>
        </p:nvSpPr>
        <p:spPr/>
        <p:txBody>
          <a:bodyPr/>
          <a:lstStyle/>
          <a:p>
            <a:r>
              <a:rPr lang="en-US" i="1" dirty="0">
                <a:solidFill>
                  <a:schemeClr val="accent2">
                    <a:lumMod val="75000"/>
                  </a:schemeClr>
                </a:solidFill>
              </a:rPr>
              <a:t>Grupul UNICREDIT dispune de o prezenta relevanta in tarile in care activeaza…</a:t>
            </a:r>
            <a:endParaRPr lang="it-IT" i="1" dirty="0">
              <a:solidFill>
                <a:schemeClr val="accent2">
                  <a:lumMod val="75000"/>
                </a:schemeClr>
              </a:solidFill>
            </a:endParaRPr>
          </a:p>
        </p:txBody>
      </p:sp>
      <p:sp>
        <p:nvSpPr>
          <p:cNvPr id="14" name="Text Placeholder 26"/>
          <p:cNvSpPr>
            <a:spLocks noGrp="1"/>
          </p:cNvSpPr>
          <p:nvPr>
            <p:custDataLst>
              <p:tags r:id="rId1"/>
            </p:custDataLst>
          </p:nvPr>
        </p:nvSpPr>
        <p:spPr bwMode="gray">
          <a:xfrm>
            <a:off x="2605090" y="3004548"/>
            <a:ext cx="228600" cy="102394"/>
          </a:xfrm>
          <a:prstGeom prst="rect">
            <a:avLst/>
          </a:prstGeom>
          <a:noFill/>
          <a:extLst>
            <a:ext uri="{909E8E84-426E-40DD-AFC4-6F175D3DCCD1}">
              <a14:hiddenFill xmlns:a14="http://schemas.microsoft.com/office/drawing/2010/main">
                <a:solidFill>
                  <a:schemeClr val="accent1"/>
                </a:solidFill>
              </a14:hiddenFill>
            </a:ext>
          </a:extLst>
        </p:spPr>
        <p:txBody>
          <a:bodyPr wrap="none" lIns="13914" tIns="0" rIns="13914" bIns="0" numCol="1" spcCol="0" anchor="ctr" anchorCtr="0">
            <a:noAutofit/>
          </a:bodyPr>
          <a:lstStyle>
            <a:lvl1pPr marL="176213" indent="-1762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1pPr>
            <a:lvl2pPr marL="627063" indent="-1698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2pPr>
            <a:lvl3pPr marL="1079500" indent="-165100"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3pPr>
            <a:lvl4pPr marL="1522413" indent="-1508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4pPr>
            <a:lvl5pPr marL="1973263" indent="-1444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D2288A57-88F7-48FC-BB69-3EEB07293AA9}" type="datetime'''''-''''6''''''''''''''''''''''''.''''''''''''''''''3'''">
              <a:rPr lang="en-US" sz="1000" b="1">
                <a:solidFill>
                  <a:schemeClr val="bg1"/>
                </a:solidFill>
                <a:latin typeface="UniCredit" pitchFamily="50" charset="0"/>
                <a:cs typeface="+mn-cs"/>
              </a:rPr>
              <a:pPr marL="0" indent="0" algn="ctr">
                <a:spcBef>
                  <a:spcPct val="0"/>
                </a:spcBef>
                <a:buNone/>
              </a:pPr>
              <a:t>-6.3</a:t>
            </a:fld>
            <a:endParaRPr lang="en-US" sz="1000" b="1" dirty="0">
              <a:solidFill>
                <a:schemeClr val="bg1"/>
              </a:solidFill>
              <a:latin typeface="UniCredit" pitchFamily="50" charset="0"/>
              <a:cs typeface="+mn-cs"/>
              <a:sym typeface="+mn-lt"/>
            </a:endParaRPr>
          </a:p>
        </p:txBody>
      </p:sp>
      <p:sp>
        <p:nvSpPr>
          <p:cNvPr id="15" name="Text Placeholder 2"/>
          <p:cNvSpPr>
            <a:spLocks noGrp="1"/>
          </p:cNvSpPr>
          <p:nvPr>
            <p:custDataLst>
              <p:tags r:id="rId2"/>
            </p:custDataLst>
          </p:nvPr>
        </p:nvSpPr>
        <p:spPr bwMode="auto">
          <a:xfrm>
            <a:off x="795338" y="2710467"/>
            <a:ext cx="419100" cy="20478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7056" indent="-187056" algn="l" defTabSz="960585" rtl="0" eaLnBrk="0" fontAlgn="base" hangingPunct="0">
              <a:spcBef>
                <a:spcPct val="20000"/>
              </a:spcBef>
              <a:spcAft>
                <a:spcPct val="0"/>
              </a:spcAft>
              <a:buClr>
                <a:srgbClr val="E2001A"/>
              </a:buClr>
              <a:buFont typeface="Wingdings" pitchFamily="2" charset="2"/>
              <a:buChar char="n"/>
              <a:defRPr sz="1200">
                <a:solidFill>
                  <a:schemeClr val="tx1"/>
                </a:solidFill>
                <a:latin typeface="+mn-lt"/>
                <a:ea typeface="ＭＳ Ｐゴシック" pitchFamily="34" charset="-128"/>
                <a:cs typeface="+mn-cs"/>
              </a:defRPr>
            </a:lvl1pPr>
            <a:lvl2pPr marL="565899" indent="-185469" algn="l" defTabSz="960585" rtl="0" eaLnBrk="0" fontAlgn="base" hangingPunct="0">
              <a:spcBef>
                <a:spcPct val="20000"/>
              </a:spcBef>
              <a:spcAft>
                <a:spcPct val="0"/>
              </a:spcAft>
              <a:buClr>
                <a:srgbClr val="E2001A"/>
              </a:buClr>
              <a:buFont typeface="Wingdings" pitchFamily="2" charset="2"/>
              <a:buChar char="n"/>
              <a:defRPr sz="1200">
                <a:solidFill>
                  <a:schemeClr val="tx1"/>
                </a:solidFill>
                <a:latin typeface="+mn-lt"/>
                <a:ea typeface="ＭＳ Ｐゴシック" pitchFamily="34" charset="-128"/>
              </a:defRPr>
            </a:lvl2pPr>
            <a:lvl3pPr marL="946325" indent="-183864" algn="l" defTabSz="960585" rtl="0" eaLnBrk="0" fontAlgn="base" hangingPunct="0">
              <a:spcBef>
                <a:spcPct val="20000"/>
              </a:spcBef>
              <a:spcAft>
                <a:spcPct val="0"/>
              </a:spcAft>
              <a:buClr>
                <a:srgbClr val="E2001A"/>
              </a:buClr>
              <a:buFont typeface="Wingdings" pitchFamily="2" charset="2"/>
              <a:buChar char="n"/>
              <a:defRPr sz="1200">
                <a:solidFill>
                  <a:schemeClr val="tx1"/>
                </a:solidFill>
                <a:latin typeface="+mn-lt"/>
                <a:ea typeface="ＭＳ Ｐゴシック" pitchFamily="34" charset="-128"/>
              </a:defRPr>
            </a:lvl3pPr>
            <a:lvl4pPr marL="1325171" indent="-180705" algn="l" defTabSz="960585" rtl="0" eaLnBrk="0" fontAlgn="base" hangingPunct="0">
              <a:spcBef>
                <a:spcPct val="20000"/>
              </a:spcBef>
              <a:spcAft>
                <a:spcPct val="0"/>
              </a:spcAft>
              <a:buClr>
                <a:srgbClr val="E2001A"/>
              </a:buClr>
              <a:buFont typeface="Wingdings" pitchFamily="2" charset="2"/>
              <a:buChar char="n"/>
              <a:defRPr sz="1200">
                <a:solidFill>
                  <a:schemeClr val="tx1"/>
                </a:solidFill>
                <a:latin typeface="+mn-lt"/>
                <a:ea typeface="ＭＳ Ｐゴシック" pitchFamily="34" charset="-128"/>
              </a:defRPr>
            </a:lvl4pPr>
            <a:lvl5pPr marL="1707174" indent="-187056" algn="l" defTabSz="960585" rtl="0" eaLnBrk="0" fontAlgn="base" hangingPunct="0">
              <a:spcBef>
                <a:spcPct val="20000"/>
              </a:spcBef>
              <a:spcAft>
                <a:spcPct val="0"/>
              </a:spcAft>
              <a:buClr>
                <a:srgbClr val="E2001A"/>
              </a:buClr>
              <a:buFont typeface="Wingdings" pitchFamily="2" charset="2"/>
              <a:buChar char="n"/>
              <a:defRPr sz="1200">
                <a:solidFill>
                  <a:schemeClr val="tx1"/>
                </a:solidFill>
                <a:latin typeface="+mn-lt"/>
                <a:ea typeface="ＭＳ Ｐゴシック" pitchFamily="34" charset="-128"/>
              </a:defRPr>
            </a:lvl5pPr>
            <a:lvl6pPr marL="2164114" indent="-191423" algn="l" defTabSz="963411" rtl="0" fontAlgn="base">
              <a:spcBef>
                <a:spcPct val="20000"/>
              </a:spcBef>
              <a:spcAft>
                <a:spcPct val="0"/>
              </a:spcAft>
              <a:buClr>
                <a:srgbClr val="E2001A"/>
              </a:buClr>
              <a:buFont typeface="Wingdings" pitchFamily="2" charset="2"/>
              <a:buChar char="n"/>
              <a:defRPr sz="1200">
                <a:solidFill>
                  <a:schemeClr val="tx1"/>
                </a:solidFill>
                <a:latin typeface="+mn-lt"/>
                <a:ea typeface="+mn-ea"/>
              </a:defRPr>
            </a:lvl6pPr>
            <a:lvl7pPr marL="2619712" indent="-191423" algn="l" defTabSz="963411" rtl="0" fontAlgn="base">
              <a:spcBef>
                <a:spcPct val="20000"/>
              </a:spcBef>
              <a:spcAft>
                <a:spcPct val="0"/>
              </a:spcAft>
              <a:buClr>
                <a:srgbClr val="E2001A"/>
              </a:buClr>
              <a:buFont typeface="Wingdings" pitchFamily="2" charset="2"/>
              <a:buChar char="n"/>
              <a:defRPr sz="1200">
                <a:solidFill>
                  <a:schemeClr val="tx1"/>
                </a:solidFill>
                <a:latin typeface="+mn-lt"/>
                <a:ea typeface="+mn-ea"/>
              </a:defRPr>
            </a:lvl7pPr>
            <a:lvl8pPr marL="3075318" indent="-191423" algn="l" defTabSz="963411" rtl="0" fontAlgn="base">
              <a:spcBef>
                <a:spcPct val="20000"/>
              </a:spcBef>
              <a:spcAft>
                <a:spcPct val="0"/>
              </a:spcAft>
              <a:buClr>
                <a:srgbClr val="E2001A"/>
              </a:buClr>
              <a:buFont typeface="Wingdings" pitchFamily="2" charset="2"/>
              <a:buChar char="n"/>
              <a:defRPr sz="1200">
                <a:solidFill>
                  <a:schemeClr val="tx1"/>
                </a:solidFill>
                <a:latin typeface="+mn-lt"/>
                <a:ea typeface="+mn-ea"/>
              </a:defRPr>
            </a:lvl8pPr>
            <a:lvl9pPr marL="3530915" indent="-191423" algn="l" defTabSz="963411" rtl="0" fontAlgn="base">
              <a:spcBef>
                <a:spcPct val="20000"/>
              </a:spcBef>
              <a:spcAft>
                <a:spcPct val="0"/>
              </a:spcAft>
              <a:buClr>
                <a:srgbClr val="E2001A"/>
              </a:buClr>
              <a:buFont typeface="Wingdings" pitchFamily="2" charset="2"/>
              <a:buChar char="n"/>
              <a:defRPr sz="1200">
                <a:solidFill>
                  <a:schemeClr val="tx1"/>
                </a:solidFill>
                <a:latin typeface="+mn-lt"/>
                <a:ea typeface="+mn-ea"/>
              </a:defRPr>
            </a:lvl9pPr>
          </a:lstStyle>
          <a:p>
            <a:pPr marL="0" indent="0" algn="r">
              <a:spcBef>
                <a:spcPct val="0"/>
              </a:spcBef>
              <a:buNone/>
            </a:pPr>
            <a:endParaRPr lang="en-US" sz="1000" b="1" dirty="0">
              <a:latin typeface="UniCredit" pitchFamily="50" charset="0"/>
              <a:ea typeface="ＭＳ Ｐゴシック"/>
              <a:sym typeface="Arial"/>
            </a:endParaRPr>
          </a:p>
        </p:txBody>
      </p:sp>
      <p:sp>
        <p:nvSpPr>
          <p:cNvPr id="16" name="Text Placeholder 25"/>
          <p:cNvSpPr>
            <a:spLocks noGrp="1"/>
          </p:cNvSpPr>
          <p:nvPr>
            <p:custDataLst>
              <p:tags r:id="rId3"/>
            </p:custDataLst>
          </p:nvPr>
        </p:nvSpPr>
        <p:spPr bwMode="gray">
          <a:xfrm>
            <a:off x="3252789" y="2600926"/>
            <a:ext cx="228600" cy="102394"/>
          </a:xfrm>
          <a:prstGeom prst="rect">
            <a:avLst/>
          </a:prstGeom>
          <a:noFill/>
          <a:extLst>
            <a:ext uri="{909E8E84-426E-40DD-AFC4-6F175D3DCCD1}">
              <a14:hiddenFill xmlns:a14="http://schemas.microsoft.com/office/drawing/2010/main">
                <a:solidFill>
                  <a:schemeClr val="accent1"/>
                </a:solidFill>
              </a14:hiddenFill>
            </a:ext>
          </a:extLst>
        </p:spPr>
        <p:txBody>
          <a:bodyPr wrap="none" lIns="13914" tIns="0" rIns="13914" bIns="0" numCol="1" spcCol="0" anchor="ctr" anchorCtr="0">
            <a:noAutofit/>
          </a:bodyPr>
          <a:lstStyle>
            <a:lvl1pPr marL="176213" indent="-1762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1pPr>
            <a:lvl2pPr marL="627063" indent="-1698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2pPr>
            <a:lvl3pPr marL="1079500" indent="-165100"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3pPr>
            <a:lvl4pPr marL="1522413" indent="-1508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4pPr>
            <a:lvl5pPr marL="1973263" indent="-1444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E7DC731F-664C-4BD9-93F4-82AAE88F2820}" type="datetime'''''''-''6''''''''''''''.4'">
              <a:rPr lang="en-US" sz="1000" b="1">
                <a:solidFill>
                  <a:schemeClr val="bg1"/>
                </a:solidFill>
                <a:latin typeface="UniCredit" pitchFamily="50" charset="0"/>
                <a:cs typeface="+mn-cs"/>
              </a:rPr>
              <a:pPr marL="0" indent="0" algn="ctr">
                <a:spcBef>
                  <a:spcPct val="0"/>
                </a:spcBef>
                <a:buNone/>
              </a:pPr>
              <a:t>-6.4</a:t>
            </a:fld>
            <a:endParaRPr lang="en-US" sz="1000" b="1" dirty="0">
              <a:solidFill>
                <a:schemeClr val="bg1"/>
              </a:solidFill>
              <a:latin typeface="UniCredit" pitchFamily="50" charset="0"/>
              <a:cs typeface="+mn-cs"/>
              <a:sym typeface="+mn-lt"/>
            </a:endParaRPr>
          </a:p>
        </p:txBody>
      </p:sp>
      <p:sp>
        <p:nvSpPr>
          <p:cNvPr id="17" name="Text Placeholder 12"/>
          <p:cNvSpPr>
            <a:spLocks noGrp="1"/>
          </p:cNvSpPr>
          <p:nvPr>
            <p:custDataLst>
              <p:tags r:id="rId4"/>
            </p:custDataLst>
          </p:nvPr>
        </p:nvSpPr>
        <p:spPr bwMode="auto">
          <a:xfrm>
            <a:off x="935039" y="2197304"/>
            <a:ext cx="279400" cy="102394"/>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76213" indent="-1762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1pPr>
            <a:lvl2pPr marL="627063" indent="-1698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2pPr>
            <a:lvl3pPr marL="1079500" indent="-165100"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3pPr>
            <a:lvl4pPr marL="1522413" indent="-1508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4pPr>
            <a:lvl5pPr marL="1973263" indent="-1444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spcBef>
                <a:spcPct val="0"/>
              </a:spcBef>
              <a:buNone/>
            </a:pPr>
            <a:endParaRPr lang="en-US" sz="1000" b="1" dirty="0">
              <a:latin typeface="UniCredit" pitchFamily="50" charset="0"/>
              <a:ea typeface="ＭＳ Ｐゴシック"/>
              <a:cs typeface="+mn-cs"/>
              <a:sym typeface="Arial"/>
            </a:endParaRPr>
          </a:p>
        </p:txBody>
      </p:sp>
      <p:sp>
        <p:nvSpPr>
          <p:cNvPr id="18" name="Text Placeholder 28"/>
          <p:cNvSpPr>
            <a:spLocks noGrp="1"/>
          </p:cNvSpPr>
          <p:nvPr>
            <p:custDataLst>
              <p:tags r:id="rId5"/>
            </p:custDataLst>
          </p:nvPr>
        </p:nvSpPr>
        <p:spPr bwMode="gray">
          <a:xfrm>
            <a:off x="2341565" y="2213378"/>
            <a:ext cx="317500" cy="102394"/>
          </a:xfrm>
          <a:prstGeom prst="rect">
            <a:avLst/>
          </a:prstGeom>
          <a:noFill/>
          <a:extLst>
            <a:ext uri="{909E8E84-426E-40DD-AFC4-6F175D3DCCD1}">
              <a14:hiddenFill xmlns:a14="http://schemas.microsoft.com/office/drawing/2010/main">
                <a:solidFill>
                  <a:scrgbClr r="0" g="0" b="0"/>
                </a:solidFill>
              </a14:hiddenFill>
            </a:ext>
          </a:extLst>
        </p:spPr>
        <p:txBody>
          <a:bodyPr wrap="none" lIns="13914" tIns="0" rIns="13914" bIns="0" numCol="1" spcCol="0" anchor="ctr" anchorCtr="0">
            <a:noAutofit/>
          </a:bodyPr>
          <a:lstStyle>
            <a:lvl1pPr marL="176213" indent="-1762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1pPr>
            <a:lvl2pPr marL="627063" indent="-1698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2pPr>
            <a:lvl3pPr marL="1079500" indent="-165100"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3pPr>
            <a:lvl4pPr marL="1522413" indent="-1508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4pPr>
            <a:lvl5pPr marL="1973263" indent="-1444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34D654D4-DD95-4F6E-863A-FA2085184B4E}" type="datetime'1''''''''''''2''5''''''''''''''''''''''''.''''''5'''">
              <a:rPr lang="en-US" sz="1000" b="1">
                <a:solidFill>
                  <a:schemeClr val="bg1"/>
                </a:solidFill>
                <a:latin typeface="UniCredit" pitchFamily="50" charset="0"/>
                <a:cs typeface="+mn-cs"/>
              </a:rPr>
              <a:pPr marL="0" indent="0" algn="ctr">
                <a:spcBef>
                  <a:spcPct val="0"/>
                </a:spcBef>
                <a:buNone/>
              </a:pPr>
              <a:t>125.5</a:t>
            </a:fld>
            <a:endParaRPr lang="en-US" sz="1000" b="1" dirty="0">
              <a:solidFill>
                <a:schemeClr val="bg1"/>
              </a:solidFill>
              <a:latin typeface="UniCredit" pitchFamily="50" charset="0"/>
              <a:cs typeface="+mn-cs"/>
              <a:sym typeface="+mn-lt"/>
            </a:endParaRPr>
          </a:p>
        </p:txBody>
      </p:sp>
      <p:sp>
        <p:nvSpPr>
          <p:cNvPr id="19" name="Text Placeholder 11"/>
          <p:cNvSpPr>
            <a:spLocks noGrp="1"/>
          </p:cNvSpPr>
          <p:nvPr>
            <p:custDataLst>
              <p:tags r:id="rId6"/>
            </p:custDataLst>
          </p:nvPr>
        </p:nvSpPr>
        <p:spPr bwMode="auto">
          <a:xfrm>
            <a:off x="560390" y="1746055"/>
            <a:ext cx="654050" cy="20478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76213" indent="-1762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1pPr>
            <a:lvl2pPr marL="627063" indent="-1698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2pPr>
            <a:lvl3pPr marL="1079500" indent="-165100"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3pPr>
            <a:lvl4pPr marL="1522413" indent="-1508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4pPr>
            <a:lvl5pPr marL="1973263" indent="-1444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spcBef>
                <a:spcPct val="0"/>
              </a:spcBef>
              <a:buNone/>
            </a:pPr>
            <a:endParaRPr lang="en-US" sz="1000" b="1" dirty="0">
              <a:latin typeface="UniCredit" pitchFamily="50" charset="0"/>
              <a:ea typeface="ＭＳ Ｐゴシック"/>
              <a:cs typeface="+mn-cs"/>
              <a:sym typeface="Arial"/>
            </a:endParaRPr>
          </a:p>
        </p:txBody>
      </p:sp>
      <p:sp>
        <p:nvSpPr>
          <p:cNvPr id="20" name="Text Placeholder 24"/>
          <p:cNvSpPr>
            <a:spLocks noGrp="1"/>
          </p:cNvSpPr>
          <p:nvPr>
            <p:custDataLst>
              <p:tags r:id="rId7"/>
            </p:custDataLst>
          </p:nvPr>
        </p:nvSpPr>
        <p:spPr bwMode="gray">
          <a:xfrm>
            <a:off x="3757615" y="1797254"/>
            <a:ext cx="228600" cy="102394"/>
          </a:xfrm>
          <a:prstGeom prst="rect">
            <a:avLst/>
          </a:prstGeom>
          <a:noFill/>
          <a:extLst>
            <a:ext uri="{909E8E84-426E-40DD-AFC4-6F175D3DCCD1}">
              <a14:hiddenFill xmlns:a14="http://schemas.microsoft.com/office/drawing/2010/main">
                <a:solidFill>
                  <a:schemeClr val="accent1"/>
                </a:solidFill>
              </a14:hiddenFill>
            </a:ext>
          </a:extLst>
        </p:spPr>
        <p:txBody>
          <a:bodyPr wrap="none" lIns="13914" tIns="0" rIns="13914" bIns="0" numCol="1" spcCol="0" anchor="ctr" anchorCtr="0">
            <a:noAutofit/>
          </a:bodyPr>
          <a:lstStyle>
            <a:lvl1pPr marL="176213" indent="-1762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1pPr>
            <a:lvl2pPr marL="627063" indent="-1698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2pPr>
            <a:lvl3pPr marL="1079500" indent="-165100"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3pPr>
            <a:lvl4pPr marL="1522413" indent="-1508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4pPr>
            <a:lvl5pPr marL="1973263" indent="-1444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517F4B6E-F5AC-4B1C-B027-3A1C6CEBD7CE}" type="datetime'-3''''''.''''5'''''''''''''''''''''''''''''''''''''''">
              <a:rPr lang="en-US" sz="1000" b="1">
                <a:solidFill>
                  <a:schemeClr val="bg1"/>
                </a:solidFill>
                <a:latin typeface="UniCredit" pitchFamily="50" charset="0"/>
                <a:cs typeface="+mn-cs"/>
              </a:rPr>
              <a:pPr marL="0" indent="0" algn="ctr">
                <a:spcBef>
                  <a:spcPct val="0"/>
                </a:spcBef>
                <a:buNone/>
              </a:pPr>
              <a:t>-3.5</a:t>
            </a:fld>
            <a:endParaRPr lang="en-US" sz="1000" b="1" dirty="0">
              <a:solidFill>
                <a:schemeClr val="bg1"/>
              </a:solidFill>
              <a:latin typeface="UniCredit" pitchFamily="50" charset="0"/>
              <a:cs typeface="+mn-cs"/>
              <a:sym typeface="+mn-lt"/>
            </a:endParaRPr>
          </a:p>
        </p:txBody>
      </p:sp>
      <p:sp>
        <p:nvSpPr>
          <p:cNvPr id="21" name="Text Placeholder 20"/>
          <p:cNvSpPr>
            <a:spLocks noGrp="1"/>
          </p:cNvSpPr>
          <p:nvPr>
            <p:custDataLst>
              <p:tags r:id="rId8"/>
            </p:custDataLst>
          </p:nvPr>
        </p:nvSpPr>
        <p:spPr bwMode="auto">
          <a:xfrm>
            <a:off x="960439" y="1397204"/>
            <a:ext cx="254000" cy="102394"/>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7056" indent="-187056" algn="l" defTabSz="960585" rtl="0" eaLnBrk="0" fontAlgn="base" hangingPunct="0">
              <a:spcBef>
                <a:spcPct val="20000"/>
              </a:spcBef>
              <a:spcAft>
                <a:spcPct val="0"/>
              </a:spcAft>
              <a:buClr>
                <a:srgbClr val="E2001A"/>
              </a:buClr>
              <a:buFont typeface="Wingdings" pitchFamily="2" charset="2"/>
              <a:buChar char="n"/>
              <a:defRPr sz="1200">
                <a:solidFill>
                  <a:schemeClr val="tx1"/>
                </a:solidFill>
                <a:latin typeface="+mn-lt"/>
                <a:ea typeface="ＭＳ Ｐゴシック" pitchFamily="34" charset="-128"/>
                <a:cs typeface="+mn-cs"/>
              </a:defRPr>
            </a:lvl1pPr>
            <a:lvl2pPr marL="565899" indent="-185469" algn="l" defTabSz="960585" rtl="0" eaLnBrk="0" fontAlgn="base" hangingPunct="0">
              <a:spcBef>
                <a:spcPct val="20000"/>
              </a:spcBef>
              <a:spcAft>
                <a:spcPct val="0"/>
              </a:spcAft>
              <a:buClr>
                <a:srgbClr val="E2001A"/>
              </a:buClr>
              <a:buFont typeface="Wingdings" pitchFamily="2" charset="2"/>
              <a:buChar char="n"/>
              <a:defRPr sz="1200">
                <a:solidFill>
                  <a:schemeClr val="tx1"/>
                </a:solidFill>
                <a:latin typeface="+mn-lt"/>
                <a:ea typeface="ＭＳ Ｐゴシック" pitchFamily="34" charset="-128"/>
              </a:defRPr>
            </a:lvl2pPr>
            <a:lvl3pPr marL="946325" indent="-183864" algn="l" defTabSz="960585" rtl="0" eaLnBrk="0" fontAlgn="base" hangingPunct="0">
              <a:spcBef>
                <a:spcPct val="20000"/>
              </a:spcBef>
              <a:spcAft>
                <a:spcPct val="0"/>
              </a:spcAft>
              <a:buClr>
                <a:srgbClr val="E2001A"/>
              </a:buClr>
              <a:buFont typeface="Wingdings" pitchFamily="2" charset="2"/>
              <a:buChar char="n"/>
              <a:defRPr sz="1200">
                <a:solidFill>
                  <a:schemeClr val="tx1"/>
                </a:solidFill>
                <a:latin typeface="+mn-lt"/>
                <a:ea typeface="ＭＳ Ｐゴシック" pitchFamily="34" charset="-128"/>
              </a:defRPr>
            </a:lvl3pPr>
            <a:lvl4pPr marL="1325171" indent="-180705" algn="l" defTabSz="960585" rtl="0" eaLnBrk="0" fontAlgn="base" hangingPunct="0">
              <a:spcBef>
                <a:spcPct val="20000"/>
              </a:spcBef>
              <a:spcAft>
                <a:spcPct val="0"/>
              </a:spcAft>
              <a:buClr>
                <a:srgbClr val="E2001A"/>
              </a:buClr>
              <a:buFont typeface="Wingdings" pitchFamily="2" charset="2"/>
              <a:buChar char="n"/>
              <a:defRPr sz="1200">
                <a:solidFill>
                  <a:schemeClr val="tx1"/>
                </a:solidFill>
                <a:latin typeface="+mn-lt"/>
                <a:ea typeface="ＭＳ Ｐゴシック" pitchFamily="34" charset="-128"/>
              </a:defRPr>
            </a:lvl4pPr>
            <a:lvl5pPr marL="1707174" indent="-187056" algn="l" defTabSz="960585" rtl="0" eaLnBrk="0" fontAlgn="base" hangingPunct="0">
              <a:spcBef>
                <a:spcPct val="20000"/>
              </a:spcBef>
              <a:spcAft>
                <a:spcPct val="0"/>
              </a:spcAft>
              <a:buClr>
                <a:srgbClr val="E2001A"/>
              </a:buClr>
              <a:buFont typeface="Wingdings" pitchFamily="2" charset="2"/>
              <a:buChar char="n"/>
              <a:defRPr sz="1200">
                <a:solidFill>
                  <a:schemeClr val="tx1"/>
                </a:solidFill>
                <a:latin typeface="+mn-lt"/>
                <a:ea typeface="ＭＳ Ｐゴシック" pitchFamily="34" charset="-128"/>
              </a:defRPr>
            </a:lvl5pPr>
            <a:lvl6pPr marL="2164114" indent="-191423" algn="l" defTabSz="963411" rtl="0" fontAlgn="base">
              <a:spcBef>
                <a:spcPct val="20000"/>
              </a:spcBef>
              <a:spcAft>
                <a:spcPct val="0"/>
              </a:spcAft>
              <a:buClr>
                <a:srgbClr val="E2001A"/>
              </a:buClr>
              <a:buFont typeface="Wingdings" pitchFamily="2" charset="2"/>
              <a:buChar char="n"/>
              <a:defRPr sz="1200">
                <a:solidFill>
                  <a:schemeClr val="tx1"/>
                </a:solidFill>
                <a:latin typeface="+mn-lt"/>
                <a:ea typeface="+mn-ea"/>
              </a:defRPr>
            </a:lvl6pPr>
            <a:lvl7pPr marL="2619712" indent="-191423" algn="l" defTabSz="963411" rtl="0" fontAlgn="base">
              <a:spcBef>
                <a:spcPct val="20000"/>
              </a:spcBef>
              <a:spcAft>
                <a:spcPct val="0"/>
              </a:spcAft>
              <a:buClr>
                <a:srgbClr val="E2001A"/>
              </a:buClr>
              <a:buFont typeface="Wingdings" pitchFamily="2" charset="2"/>
              <a:buChar char="n"/>
              <a:defRPr sz="1200">
                <a:solidFill>
                  <a:schemeClr val="tx1"/>
                </a:solidFill>
                <a:latin typeface="+mn-lt"/>
                <a:ea typeface="+mn-ea"/>
              </a:defRPr>
            </a:lvl7pPr>
            <a:lvl8pPr marL="3075318" indent="-191423" algn="l" defTabSz="963411" rtl="0" fontAlgn="base">
              <a:spcBef>
                <a:spcPct val="20000"/>
              </a:spcBef>
              <a:spcAft>
                <a:spcPct val="0"/>
              </a:spcAft>
              <a:buClr>
                <a:srgbClr val="E2001A"/>
              </a:buClr>
              <a:buFont typeface="Wingdings" pitchFamily="2" charset="2"/>
              <a:buChar char="n"/>
              <a:defRPr sz="1200">
                <a:solidFill>
                  <a:schemeClr val="tx1"/>
                </a:solidFill>
                <a:latin typeface="+mn-lt"/>
                <a:ea typeface="+mn-ea"/>
              </a:defRPr>
            </a:lvl8pPr>
            <a:lvl9pPr marL="3530915" indent="-191423" algn="l" defTabSz="963411" rtl="0" fontAlgn="base">
              <a:spcBef>
                <a:spcPct val="20000"/>
              </a:spcBef>
              <a:spcAft>
                <a:spcPct val="0"/>
              </a:spcAft>
              <a:buClr>
                <a:srgbClr val="E2001A"/>
              </a:buClr>
              <a:buFont typeface="Wingdings" pitchFamily="2" charset="2"/>
              <a:buChar char="n"/>
              <a:defRPr sz="1200">
                <a:solidFill>
                  <a:schemeClr val="tx1"/>
                </a:solidFill>
                <a:latin typeface="+mn-lt"/>
                <a:ea typeface="+mn-ea"/>
              </a:defRPr>
            </a:lvl9pPr>
          </a:lstStyle>
          <a:p>
            <a:pPr marL="0" indent="0" algn="r">
              <a:spcBef>
                <a:spcPct val="0"/>
              </a:spcBef>
              <a:buNone/>
            </a:pPr>
            <a:endParaRPr lang="en-US" sz="1000" b="1" dirty="0">
              <a:latin typeface="UniCredit" pitchFamily="50" charset="0"/>
              <a:ea typeface="+mn-ea"/>
              <a:sym typeface="+mn-lt"/>
            </a:endParaRPr>
          </a:p>
        </p:txBody>
      </p:sp>
      <p:sp>
        <p:nvSpPr>
          <p:cNvPr id="22" name="Text Placeholder 3"/>
          <p:cNvSpPr>
            <a:spLocks noGrp="1"/>
          </p:cNvSpPr>
          <p:nvPr>
            <p:custDataLst>
              <p:tags r:id="rId9"/>
            </p:custDataLst>
          </p:nvPr>
        </p:nvSpPr>
        <p:spPr bwMode="gray">
          <a:xfrm>
            <a:off x="4073526" y="1397204"/>
            <a:ext cx="317500" cy="102394"/>
          </a:xfrm>
          <a:prstGeom prst="rect">
            <a:avLst/>
          </a:prstGeom>
          <a:noFill/>
          <a:extLst>
            <a:ext uri="{909E8E84-426E-40DD-AFC4-6F175D3DCCD1}">
              <a14:hiddenFill xmlns:a14="http://schemas.microsoft.com/office/drawing/2010/main">
                <a:solidFill>
                  <a:scrgbClr r="0" g="0" b="0"/>
                </a:solidFill>
              </a14:hiddenFill>
            </a:ext>
          </a:extLst>
        </p:spPr>
        <p:txBody>
          <a:bodyPr wrap="none" lIns="13914" tIns="0" rIns="13914" bIns="0" numCol="1" spcCol="0" anchor="ctr" anchorCtr="0">
            <a:noAutofit/>
          </a:bodyPr>
          <a:lstStyle>
            <a:lvl1pPr marL="176213" indent="-1762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1pPr>
            <a:lvl2pPr marL="627063" indent="-1698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2pPr>
            <a:lvl3pPr marL="1079500" indent="-165100"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3pPr>
            <a:lvl4pPr marL="1522413" indent="-1508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4pPr>
            <a:lvl5pPr marL="1973263" indent="-1444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buNone/>
            </a:pPr>
            <a:endParaRPr lang="en-US" sz="1000" b="1" dirty="0">
              <a:latin typeface="UniCredit" pitchFamily="50" charset="0"/>
              <a:cs typeface="+mn-cs"/>
              <a:sym typeface="+mn-lt"/>
            </a:endParaRPr>
          </a:p>
        </p:txBody>
      </p:sp>
      <p:sp>
        <p:nvSpPr>
          <p:cNvPr id="26" name="Line 9"/>
          <p:cNvSpPr>
            <a:spLocks noChangeShapeType="1"/>
          </p:cNvSpPr>
          <p:nvPr/>
        </p:nvSpPr>
        <p:spPr bwMode="auto">
          <a:xfrm>
            <a:off x="0" y="4595673"/>
            <a:ext cx="9144000" cy="0"/>
          </a:xfrm>
          <a:prstGeom prst="line">
            <a:avLst/>
          </a:prstGeom>
          <a:noFill/>
          <a:ln w="19050">
            <a:solidFill>
              <a:srgbClr val="00AFD0"/>
            </a:solidFill>
            <a:round/>
            <a:headEnd/>
            <a:tailEnd type="none" w="med" len="lg"/>
          </a:ln>
          <a:extLst>
            <a:ext uri="{909E8E84-426E-40DD-AFC4-6F175D3DCCD1}">
              <a14:hiddenFill xmlns:a14="http://schemas.microsoft.com/office/drawing/2010/main">
                <a:noFill/>
              </a14:hiddenFill>
            </a:ext>
          </a:extLst>
        </p:spPr>
        <p:txBody>
          <a:bodyPr lIns="0" tIns="0" rIns="0" bIns="0" anchor="ctr">
            <a:spAutoFit/>
          </a:bodyPr>
          <a:lstStyle/>
          <a:p>
            <a:endParaRPr lang="it-IT" dirty="0">
              <a:latin typeface="UniCredit"/>
            </a:endParaRPr>
          </a:p>
        </p:txBody>
      </p:sp>
      <p:sp>
        <p:nvSpPr>
          <p:cNvPr id="35" name="Text Placeholder 11"/>
          <p:cNvSpPr>
            <a:spLocks noGrp="1"/>
          </p:cNvSpPr>
          <p:nvPr>
            <p:custDataLst>
              <p:tags r:id="rId10"/>
            </p:custDataLst>
          </p:nvPr>
        </p:nvSpPr>
        <p:spPr bwMode="auto">
          <a:xfrm>
            <a:off x="5268914" y="2618790"/>
            <a:ext cx="298450" cy="102394"/>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76213" indent="-1762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1pPr>
            <a:lvl2pPr marL="627063" indent="-1698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2pPr>
            <a:lvl3pPr marL="1079500" indent="-165100"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3pPr>
            <a:lvl4pPr marL="1522413" indent="-1508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4pPr>
            <a:lvl5pPr marL="1973263" indent="-1444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spcBef>
                <a:spcPct val="0"/>
              </a:spcBef>
              <a:buNone/>
            </a:pPr>
            <a:endParaRPr lang="en-US" sz="1000" b="1" dirty="0">
              <a:latin typeface="UniCredit" pitchFamily="50" charset="0"/>
              <a:cs typeface="Arial"/>
              <a:sym typeface="Arial"/>
            </a:endParaRPr>
          </a:p>
        </p:txBody>
      </p:sp>
      <p:sp>
        <p:nvSpPr>
          <p:cNvPr id="36" name="Text Placeholder 10"/>
          <p:cNvSpPr>
            <a:spLocks noGrp="1"/>
          </p:cNvSpPr>
          <p:nvPr>
            <p:custDataLst>
              <p:tags r:id="rId11"/>
            </p:custDataLst>
          </p:nvPr>
        </p:nvSpPr>
        <p:spPr bwMode="auto">
          <a:xfrm>
            <a:off x="4970465" y="2099676"/>
            <a:ext cx="596900" cy="20478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76213" indent="-1762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1pPr>
            <a:lvl2pPr marL="627063" indent="-1698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2pPr>
            <a:lvl3pPr marL="1079500" indent="-165100"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3pPr>
            <a:lvl4pPr marL="1522413" indent="-1508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4pPr>
            <a:lvl5pPr marL="1973263" indent="-1444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spcBef>
                <a:spcPct val="0"/>
              </a:spcBef>
              <a:buNone/>
            </a:pPr>
            <a:endParaRPr lang="en-US" sz="1000" b="1" dirty="0">
              <a:latin typeface="UniCredit" pitchFamily="50" charset="0"/>
              <a:cs typeface="Arial"/>
              <a:sym typeface="Arial"/>
            </a:endParaRPr>
          </a:p>
        </p:txBody>
      </p:sp>
      <p:sp>
        <p:nvSpPr>
          <p:cNvPr id="38" name="Text Placeholder 18"/>
          <p:cNvSpPr>
            <a:spLocks noGrp="1"/>
          </p:cNvSpPr>
          <p:nvPr>
            <p:custDataLst>
              <p:tags r:id="rId12"/>
            </p:custDataLst>
          </p:nvPr>
        </p:nvSpPr>
        <p:spPr bwMode="gray">
          <a:xfrm>
            <a:off x="7475041" y="2613432"/>
            <a:ext cx="158750" cy="102394"/>
          </a:xfrm>
          <a:prstGeom prst="rect">
            <a:avLst/>
          </a:prstGeom>
          <a:noFill/>
          <a:extLst>
            <a:ext uri="{909E8E84-426E-40DD-AFC4-6F175D3DCCD1}">
              <a14:hiddenFill xmlns:a14="http://schemas.microsoft.com/office/drawing/2010/main">
                <a:solidFill>
                  <a:scrgbClr r="0" g="0" b="0"/>
                </a:solidFill>
              </a14:hiddenFill>
            </a:ext>
          </a:extLst>
        </p:spPr>
        <p:txBody>
          <a:bodyPr wrap="none" lIns="13914" tIns="0" rIns="13914" bIns="0" numCol="1" spcCol="0" anchor="ctr" anchorCtr="0">
            <a:noAutofit/>
          </a:bodyPr>
          <a:lstStyle>
            <a:lvl1pPr marL="176213" indent="-1762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1pPr>
            <a:lvl2pPr marL="627063" indent="-1698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2pPr>
            <a:lvl3pPr marL="1079500" indent="-165100"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3pPr>
            <a:lvl4pPr marL="1522413" indent="-15081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4pPr>
            <a:lvl5pPr marL="1973263" indent="-144463" algn="l" defTabSz="457200" rtl="0" eaLnBrk="1" latinLnBrk="0" hangingPunct="1">
              <a:spcBef>
                <a:spcPct val="20000"/>
              </a:spcBef>
              <a:buClr>
                <a:srgbClr val="CD0920"/>
              </a:buClr>
              <a:buFont typeface="Arial"/>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buNone/>
            </a:pPr>
            <a:endParaRPr lang="en-US" sz="800" b="1" dirty="0">
              <a:latin typeface="Arial"/>
              <a:cs typeface="Arial"/>
              <a:sym typeface="Arial"/>
            </a:endParaRPr>
          </a:p>
        </p:txBody>
      </p:sp>
      <p:sp>
        <p:nvSpPr>
          <p:cNvPr id="50" name="Elaborazione alternativa 49"/>
          <p:cNvSpPr/>
          <p:nvPr/>
        </p:nvSpPr>
        <p:spPr bwMode="gray">
          <a:xfrm>
            <a:off x="203518" y="812909"/>
            <a:ext cx="8736964" cy="216000"/>
          </a:xfrm>
          <a:prstGeom prst="flowChartAlternateProcess">
            <a:avLst/>
          </a:prstGeom>
          <a:solidFill>
            <a:srgbClr val="00AFD0"/>
          </a:solidFill>
          <a:ln>
            <a:noFill/>
          </a:ln>
          <a:effectLst/>
          <a:scene3d>
            <a:camera prst="orthographicFront"/>
            <a:lightRig rig="balanced" dir="l"/>
          </a:scene3d>
          <a:sp3d prstMaterial="plastic"/>
        </p:spPr>
        <p:txBody>
          <a:bodyPr lIns="63108" tIns="40074" rIns="63108" bIns="40074" rtlCol="0" anchor="ctr" anchorCtr="0">
            <a:noAutofit/>
          </a:bodyPr>
          <a:lstStyle/>
          <a:p>
            <a:pPr algn="ctr" defTabSz="801472"/>
            <a:endParaRPr lang="en-US" b="1" kern="0" dirty="0">
              <a:solidFill>
                <a:srgbClr val="FFFFFF"/>
              </a:solidFill>
              <a:latin typeface="UniCredit" pitchFamily="50" charset="0"/>
            </a:endParaRPr>
          </a:p>
        </p:txBody>
      </p:sp>
      <p:graphicFrame>
        <p:nvGraphicFramePr>
          <p:cNvPr id="52" name="Grafico 51"/>
          <p:cNvGraphicFramePr>
            <a:graphicFrameLocks/>
          </p:cNvGraphicFramePr>
          <p:nvPr>
            <p:extLst>
              <p:ext uri="{D42A27DB-BD31-4B8C-83A1-F6EECF244321}">
                <p14:modId xmlns:p14="http://schemas.microsoft.com/office/powerpoint/2010/main" val="1089553044"/>
              </p:ext>
            </p:extLst>
          </p:nvPr>
        </p:nvGraphicFramePr>
        <p:xfrm>
          <a:off x="-645160" y="766765"/>
          <a:ext cx="10434320" cy="3668318"/>
        </p:xfrm>
        <a:graphic>
          <a:graphicData uri="http://schemas.openxmlformats.org/drawingml/2006/chart">
            <c:chart xmlns:c="http://schemas.openxmlformats.org/drawingml/2006/chart" xmlns:r="http://schemas.openxmlformats.org/officeDocument/2006/relationships" r:id="rId14"/>
          </a:graphicData>
        </a:graphic>
      </p:graphicFrame>
      <p:sp>
        <p:nvSpPr>
          <p:cNvPr id="23" name="Segnaposto testo 22"/>
          <p:cNvSpPr txBox="1">
            <a:spLocks noGrp="1"/>
          </p:cNvSpPr>
          <p:nvPr>
            <p:ph type="body" sz="quarter" idx="13"/>
          </p:nvPr>
        </p:nvSpPr>
        <p:spPr>
          <a:xfrm>
            <a:off x="618443" y="4689751"/>
            <a:ext cx="7788959" cy="276999"/>
          </a:xfrm>
          <a:prstGeom prst="rect">
            <a:avLst/>
          </a:prstGeom>
          <a:noFill/>
        </p:spPr>
        <p:txBody>
          <a:bodyPr wrap="square" rtlCol="0">
            <a:spAutoFit/>
          </a:bodyPr>
          <a:lstStyle/>
          <a:p>
            <a:endParaRPr lang="en-US" sz="900" dirty="0"/>
          </a:p>
          <a:p>
            <a:r>
              <a:rPr lang="en-US" sz="900" dirty="0" smtClean="0"/>
              <a:t>*Cota de piata la 31 decembrie 2016 in ceea ce priveste totalul imprumuturilor acordate. Sursa: Unicredit, Bancile Nationale Centrale</a:t>
            </a:r>
            <a:endParaRPr lang="en-US" sz="900" dirty="0"/>
          </a:p>
        </p:txBody>
      </p:sp>
    </p:spTree>
    <p:extLst>
      <p:ext uri="{BB962C8B-B14F-4D97-AF65-F5344CB8AC3E}">
        <p14:creationId xmlns:p14="http://schemas.microsoft.com/office/powerpoint/2010/main" val="35848989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485">
              <a:defRPr sz="1100">
                <a:solidFill>
                  <a:schemeClr val="tx1"/>
                </a:solidFill>
                <a:latin typeface="Arial" charset="0"/>
                <a:ea typeface="ＭＳ Ｐゴシック" pitchFamily="1" charset="-128"/>
              </a:defRPr>
            </a:lvl1pPr>
            <a:lvl2pPr marL="702756" indent="-270291" defTabSz="914485">
              <a:defRPr sz="1100">
                <a:solidFill>
                  <a:schemeClr val="tx1"/>
                </a:solidFill>
                <a:latin typeface="Arial" charset="0"/>
                <a:ea typeface="ＭＳ Ｐゴシック" pitchFamily="1" charset="-128"/>
              </a:defRPr>
            </a:lvl2pPr>
            <a:lvl3pPr marL="1081164" indent="-216233" defTabSz="914485">
              <a:defRPr sz="1100">
                <a:solidFill>
                  <a:schemeClr val="tx1"/>
                </a:solidFill>
                <a:latin typeface="Arial" charset="0"/>
                <a:ea typeface="ＭＳ Ｐゴシック" pitchFamily="1" charset="-128"/>
              </a:defRPr>
            </a:lvl3pPr>
            <a:lvl4pPr marL="1513629" indent="-216233" defTabSz="914485">
              <a:defRPr sz="1100">
                <a:solidFill>
                  <a:schemeClr val="tx1"/>
                </a:solidFill>
                <a:latin typeface="Arial" charset="0"/>
                <a:ea typeface="ＭＳ Ｐゴシック" pitchFamily="1" charset="-128"/>
              </a:defRPr>
            </a:lvl4pPr>
            <a:lvl5pPr marL="1946095" indent="-216233" defTabSz="914485">
              <a:defRPr sz="1100">
                <a:solidFill>
                  <a:schemeClr val="tx1"/>
                </a:solidFill>
                <a:latin typeface="Arial" charset="0"/>
                <a:ea typeface="ＭＳ Ｐゴシック" pitchFamily="1" charset="-128"/>
              </a:defRPr>
            </a:lvl5pPr>
            <a:lvl6pPr marL="2378560" indent="-216233" defTabSz="914485" eaLnBrk="0" fontAlgn="base" hangingPunct="0">
              <a:spcBef>
                <a:spcPct val="0"/>
              </a:spcBef>
              <a:spcAft>
                <a:spcPct val="0"/>
              </a:spcAft>
              <a:defRPr sz="1100">
                <a:solidFill>
                  <a:schemeClr val="tx1"/>
                </a:solidFill>
                <a:latin typeface="Arial" charset="0"/>
                <a:ea typeface="ＭＳ Ｐゴシック" pitchFamily="1" charset="-128"/>
              </a:defRPr>
            </a:lvl6pPr>
            <a:lvl7pPr marL="2811026" indent="-216233" defTabSz="914485" eaLnBrk="0" fontAlgn="base" hangingPunct="0">
              <a:spcBef>
                <a:spcPct val="0"/>
              </a:spcBef>
              <a:spcAft>
                <a:spcPct val="0"/>
              </a:spcAft>
              <a:defRPr sz="1100">
                <a:solidFill>
                  <a:schemeClr val="tx1"/>
                </a:solidFill>
                <a:latin typeface="Arial" charset="0"/>
                <a:ea typeface="ＭＳ Ｐゴシック" pitchFamily="1" charset="-128"/>
              </a:defRPr>
            </a:lvl7pPr>
            <a:lvl8pPr marL="3243491" indent="-216233" defTabSz="914485" eaLnBrk="0" fontAlgn="base" hangingPunct="0">
              <a:spcBef>
                <a:spcPct val="0"/>
              </a:spcBef>
              <a:spcAft>
                <a:spcPct val="0"/>
              </a:spcAft>
              <a:defRPr sz="1100">
                <a:solidFill>
                  <a:schemeClr val="tx1"/>
                </a:solidFill>
                <a:latin typeface="Arial" charset="0"/>
                <a:ea typeface="ＭＳ Ｐゴシック" pitchFamily="1" charset="-128"/>
              </a:defRPr>
            </a:lvl8pPr>
            <a:lvl9pPr marL="3675957" indent="-216233" defTabSz="914485" eaLnBrk="0" fontAlgn="base" hangingPunct="0">
              <a:spcBef>
                <a:spcPct val="0"/>
              </a:spcBef>
              <a:spcAft>
                <a:spcPct val="0"/>
              </a:spcAft>
              <a:defRPr sz="1100">
                <a:solidFill>
                  <a:schemeClr val="tx1"/>
                </a:solidFill>
                <a:latin typeface="Arial" charset="0"/>
                <a:ea typeface="ＭＳ Ｐゴシック" pitchFamily="1" charset="-128"/>
              </a:defRPr>
            </a:lvl9pPr>
          </a:lstStyle>
          <a:p>
            <a:pPr defTabSz="457200"/>
            <a:fld id="{D78F6CB5-C4B0-43A5-AE7E-C8DA961E2D3C}" type="slidenum">
              <a:rPr lang="en-GB" altLang="en-US" sz="900">
                <a:solidFill>
                  <a:srgbClr val="0092D1"/>
                </a:solidFill>
                <a:latin typeface="Arial"/>
                <a:ea typeface="+mn-ea"/>
              </a:rPr>
              <a:pPr defTabSz="457200"/>
              <a:t>4</a:t>
            </a:fld>
            <a:endParaRPr lang="en-GB" altLang="en-US" sz="900" dirty="0">
              <a:solidFill>
                <a:srgbClr val="0092D1"/>
              </a:solidFill>
              <a:latin typeface="Arial"/>
              <a:ea typeface="+mn-ea"/>
            </a:endParaRPr>
          </a:p>
        </p:txBody>
      </p:sp>
      <p:sp>
        <p:nvSpPr>
          <p:cNvPr id="6154" name="Rectangle 13"/>
          <p:cNvSpPr>
            <a:spLocks noGrp="1" noChangeArrowheads="1"/>
          </p:cNvSpPr>
          <p:nvPr>
            <p:ph type="title"/>
          </p:nvPr>
        </p:nvSpPr>
        <p:spPr>
          <a:xfrm>
            <a:off x="399535" y="129766"/>
            <a:ext cx="7671521" cy="435717"/>
          </a:xfrm>
        </p:spPr>
        <p:txBody>
          <a:bodyPr vert="horz" wrap="square" lIns="0" tIns="0" rIns="0" bIns="0" rtlCol="0" anchor="ctr" anchorCtr="0">
            <a:noAutofit/>
          </a:bodyPr>
          <a:lstStyle/>
          <a:p>
            <a:r>
              <a:rPr lang="en-US" i="1" dirty="0" smtClean="0">
                <a:solidFill>
                  <a:schemeClr val="accent2">
                    <a:lumMod val="75000"/>
                  </a:schemeClr>
                </a:solidFill>
              </a:rPr>
              <a:t>FONDURI EUROPENE – OPORTUNITATI PENTRU 2014 </a:t>
            </a:r>
            <a:r>
              <a:rPr lang="en-US" i="1" dirty="0">
                <a:solidFill>
                  <a:schemeClr val="accent2">
                    <a:lumMod val="75000"/>
                  </a:schemeClr>
                </a:solidFill>
              </a:rPr>
              <a:t>- 2020</a:t>
            </a:r>
            <a:endParaRPr lang="en-GB" altLang="en-US" i="1" dirty="0">
              <a:solidFill>
                <a:schemeClr val="accent2">
                  <a:lumMod val="75000"/>
                </a:schemeClr>
              </a:solidFill>
            </a:endParaRPr>
          </a:p>
        </p:txBody>
      </p:sp>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1" y="1007269"/>
            <a:ext cx="9058274" cy="35361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28661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5FA51537-151A-41D6-B1FD-F0CA55281F69}" type="slidenum">
              <a:rPr lang="en-US" smtClean="0"/>
              <a:pPr/>
              <a:t>5</a:t>
            </a:fld>
            <a:endParaRPr lang="en-US" dirty="0"/>
          </a:p>
        </p:txBody>
      </p:sp>
      <p:sp>
        <p:nvSpPr>
          <p:cNvPr id="5" name="Rectangle 13"/>
          <p:cNvSpPr>
            <a:spLocks noGrp="1" noChangeArrowheads="1"/>
          </p:cNvSpPr>
          <p:nvPr>
            <p:ph type="title"/>
          </p:nvPr>
        </p:nvSpPr>
        <p:spPr>
          <a:xfrm>
            <a:off x="270001" y="247645"/>
            <a:ext cx="8661351" cy="435717"/>
          </a:xfrm>
        </p:spPr>
        <p:txBody>
          <a:bodyPr vert="horz" wrap="square" lIns="0" tIns="0" rIns="0" bIns="0" rtlCol="0" anchor="ctr" anchorCtr="0">
            <a:noAutofit/>
          </a:bodyPr>
          <a:lstStyle/>
          <a:p>
            <a:r>
              <a:rPr lang="en-GB" altLang="en-US" i="1" dirty="0">
                <a:solidFill>
                  <a:schemeClr val="accent2">
                    <a:lumMod val="75000"/>
                  </a:schemeClr>
                </a:solidFill>
              </a:rPr>
              <a:t>UNICREDIT – CEL MAI SCURT DRUM CATRE FONDURILE EUROPENE</a:t>
            </a:r>
            <a:endParaRPr lang="en-US" i="1" dirty="0">
              <a:solidFill>
                <a:schemeClr val="accent2">
                  <a:lumMod val="75000"/>
                </a:schemeClr>
              </a:solidFill>
            </a:endParaRPr>
          </a:p>
        </p:txBody>
      </p:sp>
      <p:sp>
        <p:nvSpPr>
          <p:cNvPr id="8" name="Text Box 10"/>
          <p:cNvSpPr txBox="1">
            <a:spLocks noChangeArrowheads="1"/>
          </p:cNvSpPr>
          <p:nvPr/>
        </p:nvSpPr>
        <p:spPr bwMode="auto">
          <a:xfrm>
            <a:off x="2115069" y="964874"/>
            <a:ext cx="6816283" cy="507831"/>
          </a:xfrm>
          <a:prstGeom prst="rect">
            <a:avLst/>
          </a:prstGeom>
          <a:noFill/>
          <a:ln w="9525" algn="ctr">
            <a:noFill/>
            <a:miter lim="800000"/>
            <a:headEnd/>
            <a:tailEnd/>
          </a:ln>
        </p:spPr>
        <p:txBody>
          <a:bodyPr wrap="square" lIns="0" tIns="0" rIns="0" bIns="0">
            <a:spAutoFit/>
          </a:bodyPr>
          <a:lstStyle/>
          <a:p>
            <a:pPr marL="228600" indent="-228600" algn="just" defTabSz="914485">
              <a:spcBef>
                <a:spcPct val="20000"/>
              </a:spcBef>
              <a:buClr>
                <a:srgbClr val="E2001A"/>
              </a:buClr>
              <a:buFont typeface="Wingdings" pitchFamily="2" charset="2"/>
              <a:buChar char="Ø"/>
            </a:pPr>
            <a:r>
              <a:rPr lang="af-ZA" altLang="en-US" sz="1100" dirty="0" smtClean="0"/>
              <a:t>Fondurile Europene reprezinta una din cele mai importante surse de de finantare pentru proiecte si idei in Comunitatea Europeana. Ca atare, UniCredit este dedicat in oferirea experientei si expertizei pe care o detine catre clientii care doresc accesarea fondurilor nerambursabile pentru afacerea lor.</a:t>
            </a:r>
            <a:endParaRPr lang="af-ZA" sz="1100" dirty="0"/>
          </a:p>
        </p:txBody>
      </p:sp>
      <p:sp>
        <p:nvSpPr>
          <p:cNvPr id="3" name="Pentagon 2"/>
          <p:cNvSpPr/>
          <p:nvPr/>
        </p:nvSpPr>
        <p:spPr bwMode="gray">
          <a:xfrm>
            <a:off x="126938" y="862409"/>
            <a:ext cx="1958977" cy="427661"/>
          </a:xfrm>
          <a:prstGeom prst="homePlate">
            <a:avLst/>
          </a:prstGeom>
          <a:solidFill>
            <a:srgbClr val="00A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UniCredit si Fondurile Europene</a:t>
            </a:r>
            <a:endParaRPr lang="en-US" sz="1400" dirty="0">
              <a:solidFill>
                <a:schemeClr val="bg1"/>
              </a:solidFill>
            </a:endParaRPr>
          </a:p>
        </p:txBody>
      </p:sp>
      <p:sp>
        <p:nvSpPr>
          <p:cNvPr id="9" name="Pentagon 8"/>
          <p:cNvSpPr/>
          <p:nvPr/>
        </p:nvSpPr>
        <p:spPr bwMode="gray">
          <a:xfrm>
            <a:off x="137572" y="1574708"/>
            <a:ext cx="1958977" cy="538151"/>
          </a:xfrm>
          <a:prstGeom prst="homePlate">
            <a:avLst/>
          </a:prstGeom>
          <a:solidFill>
            <a:srgbClr val="00A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Centrele de </a:t>
            </a:r>
            <a:r>
              <a:rPr lang="en-US" sz="1400" dirty="0" err="1" smtClean="0">
                <a:solidFill>
                  <a:schemeClr val="bg1"/>
                </a:solidFill>
              </a:rPr>
              <a:t>Competenta</a:t>
            </a:r>
            <a:r>
              <a:rPr lang="en-US" sz="1400" dirty="0" smtClean="0">
                <a:solidFill>
                  <a:schemeClr val="bg1"/>
                </a:solidFill>
              </a:rPr>
              <a:t> UniCredit</a:t>
            </a:r>
            <a:endParaRPr lang="en-US" sz="1400" dirty="0">
              <a:solidFill>
                <a:schemeClr val="bg1"/>
              </a:solidFill>
            </a:endParaRPr>
          </a:p>
        </p:txBody>
      </p:sp>
      <p:sp>
        <p:nvSpPr>
          <p:cNvPr id="12" name="Text Box 12"/>
          <p:cNvSpPr txBox="1">
            <a:spLocks noChangeArrowheads="1"/>
          </p:cNvSpPr>
          <p:nvPr/>
        </p:nvSpPr>
        <p:spPr bwMode="auto">
          <a:xfrm>
            <a:off x="2115068" y="1573982"/>
            <a:ext cx="6658726" cy="507831"/>
          </a:xfrm>
          <a:prstGeom prst="rect">
            <a:avLst/>
          </a:prstGeom>
          <a:noFill/>
          <a:ln w="9525" algn="ctr">
            <a:noFill/>
            <a:miter lim="800000"/>
            <a:headEnd/>
            <a:tailEnd/>
          </a:ln>
        </p:spPr>
        <p:txBody>
          <a:bodyPr wrap="square" lIns="0" tIns="0" rIns="0" bIns="0">
            <a:spAutoFit/>
          </a:bodyPr>
          <a:lstStyle/>
          <a:p>
            <a:pPr marL="219236" indent="-219236" algn="just" defTabSz="914485">
              <a:spcBef>
                <a:spcPct val="20000"/>
              </a:spcBef>
              <a:buClr>
                <a:srgbClr val="E2001A"/>
              </a:buClr>
              <a:buFont typeface="Wingdings" pitchFamily="2" charset="2"/>
              <a:buChar char="Ø"/>
            </a:pPr>
            <a:r>
              <a:rPr lang="af-ZA" sz="1100" dirty="0" smtClean="0"/>
              <a:t>UniCredit detine Centre de Competenta Europene in domeniul fondurilor nerambursabile in tarile in care activeaza, inclusiv in Romania, oferind servicii de inalta clasa si produse care satisfac nevoile clientilor nostri in accesarea fondurilor nerambursabile si a instrumentelor de garantare.  </a:t>
            </a:r>
            <a:endParaRPr lang="af-ZA" sz="1100" dirty="0"/>
          </a:p>
        </p:txBody>
      </p:sp>
      <p:sp>
        <p:nvSpPr>
          <p:cNvPr id="13" name="Pentagon 12"/>
          <p:cNvSpPr/>
          <p:nvPr/>
        </p:nvSpPr>
        <p:spPr bwMode="gray">
          <a:xfrm>
            <a:off x="137572" y="2351619"/>
            <a:ext cx="1958977" cy="948794"/>
          </a:xfrm>
          <a:prstGeom prst="homePlate">
            <a:avLst/>
          </a:prstGeom>
          <a:solidFill>
            <a:srgbClr val="00A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O privire asupra rolului UniCredit in Perioada de </a:t>
            </a:r>
            <a:r>
              <a:rPr lang="en-US" sz="1400" dirty="0">
                <a:solidFill>
                  <a:schemeClr val="bg1"/>
                </a:solidFill>
              </a:rPr>
              <a:t>P</a:t>
            </a:r>
            <a:r>
              <a:rPr lang="en-US" sz="1400" dirty="0" smtClean="0">
                <a:solidFill>
                  <a:schemeClr val="bg1"/>
                </a:solidFill>
              </a:rPr>
              <a:t>rogramare 2007 - 2013</a:t>
            </a:r>
            <a:endParaRPr lang="en-US" sz="1400" dirty="0">
              <a:solidFill>
                <a:schemeClr val="bg1"/>
              </a:solidFill>
            </a:endParaRPr>
          </a:p>
        </p:txBody>
      </p:sp>
      <p:sp>
        <p:nvSpPr>
          <p:cNvPr id="14" name="Text Box 9"/>
          <p:cNvSpPr txBox="1">
            <a:spLocks noChangeArrowheads="1"/>
          </p:cNvSpPr>
          <p:nvPr/>
        </p:nvSpPr>
        <p:spPr bwMode="auto">
          <a:xfrm>
            <a:off x="2135781" y="2343336"/>
            <a:ext cx="6888226" cy="744819"/>
          </a:xfrm>
          <a:prstGeom prst="rect">
            <a:avLst/>
          </a:prstGeom>
          <a:noFill/>
          <a:ln w="9525" algn="ctr">
            <a:noFill/>
            <a:miter lim="800000"/>
            <a:headEnd/>
            <a:tailEnd/>
          </a:ln>
        </p:spPr>
        <p:txBody>
          <a:bodyPr wrap="square" lIns="0" tIns="0" rIns="0" bIns="0">
            <a:spAutoFit/>
          </a:bodyPr>
          <a:lstStyle/>
          <a:p>
            <a:pPr marL="219236" indent="-219236" algn="just" defTabSz="914485">
              <a:spcBef>
                <a:spcPct val="20000"/>
              </a:spcBef>
              <a:buClr>
                <a:srgbClr val="E2001A"/>
              </a:buClr>
              <a:buFont typeface="Wingdings" pitchFamily="2" charset="2"/>
              <a:buChar char="Ø"/>
            </a:pPr>
            <a:r>
              <a:rPr lang="en-US" sz="1100" dirty="0" smtClean="0"/>
              <a:t>UniCredit a finantat peste </a:t>
            </a:r>
            <a:r>
              <a:rPr lang="en-US" sz="1100" b="1" dirty="0" smtClean="0"/>
              <a:t>8.000</a:t>
            </a:r>
            <a:r>
              <a:rPr lang="en-US" sz="1100" dirty="0" smtClean="0"/>
              <a:t> de companii, majoritatea IMM-uri, prin Fonduri Europene si Instrumente Financiare.</a:t>
            </a:r>
            <a:endParaRPr lang="en-US" sz="1100" dirty="0"/>
          </a:p>
          <a:p>
            <a:pPr marL="219236" indent="-219236" algn="just" defTabSz="914485">
              <a:spcBef>
                <a:spcPct val="20000"/>
              </a:spcBef>
              <a:buClr>
                <a:srgbClr val="E2001A"/>
              </a:buClr>
              <a:buFont typeface="Wingdings" pitchFamily="2" charset="2"/>
              <a:buChar char="Ø"/>
            </a:pPr>
            <a:r>
              <a:rPr lang="pt-BR" sz="1100" dirty="0" smtClean="0"/>
              <a:t>Peste </a:t>
            </a:r>
            <a:r>
              <a:rPr lang="pt-BR" sz="1100" b="1" dirty="0" smtClean="0"/>
              <a:t>2 miliarde EURO</a:t>
            </a:r>
            <a:r>
              <a:rPr lang="pt-BR" sz="1100" dirty="0" smtClean="0"/>
              <a:t> facilitati dedicate proiectelor pe Fonduri Europene au fost aprobate.</a:t>
            </a:r>
            <a:endParaRPr lang="pt-BR" sz="1100" dirty="0"/>
          </a:p>
          <a:p>
            <a:pPr marL="219236" indent="-219236" algn="just" defTabSz="914485">
              <a:spcBef>
                <a:spcPct val="20000"/>
              </a:spcBef>
              <a:buClr>
                <a:srgbClr val="E2001A"/>
              </a:buClr>
              <a:buFont typeface="Wingdings" pitchFamily="2" charset="2"/>
              <a:buChar char="Ø"/>
            </a:pPr>
            <a:r>
              <a:rPr lang="af-ZA" sz="1100" dirty="0" smtClean="0"/>
              <a:t>Contracte de peste </a:t>
            </a:r>
            <a:r>
              <a:rPr lang="af-ZA" sz="1100" b="1" dirty="0" smtClean="0"/>
              <a:t>1.3 miliarde EURO</a:t>
            </a:r>
            <a:r>
              <a:rPr lang="af-ZA" sz="1100" dirty="0" smtClean="0"/>
              <a:t> au fost semnate cu Fondul de Investitii European pentru implementarea instrumentelor financiare in Austria, Bulgaria, Croatia, Cehia, Ungaria, Italia, Polonia, Romania, Slovacia si Serbia.</a:t>
            </a:r>
            <a:endParaRPr lang="af-ZA" sz="1100" dirty="0"/>
          </a:p>
        </p:txBody>
      </p:sp>
      <p:sp>
        <p:nvSpPr>
          <p:cNvPr id="15" name="Pentagon 14"/>
          <p:cNvSpPr/>
          <p:nvPr/>
        </p:nvSpPr>
        <p:spPr bwMode="gray">
          <a:xfrm>
            <a:off x="124190" y="3602780"/>
            <a:ext cx="1958977" cy="790626"/>
          </a:xfrm>
          <a:prstGeom prst="homePlate">
            <a:avLst/>
          </a:prstGeom>
          <a:solidFill>
            <a:srgbClr val="00A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UniCredit Bank va sprijina afacerea prin:</a:t>
            </a:r>
            <a:endParaRPr lang="en-US" sz="1400" dirty="0">
              <a:solidFill>
                <a:schemeClr val="bg1"/>
              </a:solidFill>
            </a:endParaRPr>
          </a:p>
        </p:txBody>
      </p:sp>
      <p:sp>
        <p:nvSpPr>
          <p:cNvPr id="16" name="Text Box 13"/>
          <p:cNvSpPr txBox="1">
            <a:spLocks noChangeArrowheads="1"/>
          </p:cNvSpPr>
          <p:nvPr/>
        </p:nvSpPr>
        <p:spPr bwMode="auto">
          <a:xfrm>
            <a:off x="2096548" y="3629916"/>
            <a:ext cx="6966693" cy="981807"/>
          </a:xfrm>
          <a:prstGeom prst="rect">
            <a:avLst/>
          </a:prstGeom>
          <a:noFill/>
          <a:ln w="9525" algn="ctr">
            <a:noFill/>
            <a:miter lim="800000"/>
            <a:headEnd/>
            <a:tailEnd/>
          </a:ln>
        </p:spPr>
        <p:txBody>
          <a:bodyPr wrap="square" lIns="0" tIns="0" rIns="0" bIns="0">
            <a:spAutoFit/>
          </a:bodyPr>
          <a:lstStyle/>
          <a:p>
            <a:pPr marL="219236" indent="-219236" algn="just" defTabSz="914485">
              <a:spcBef>
                <a:spcPct val="20000"/>
              </a:spcBef>
              <a:buClr>
                <a:srgbClr val="E2001A"/>
              </a:buClr>
              <a:buFont typeface="Wingdings" pitchFamily="2" charset="2"/>
              <a:buChar char="Ø"/>
            </a:pPr>
            <a:r>
              <a:rPr lang="en-US" sz="1100" dirty="0"/>
              <a:t>Solutii oportune de finantare care sustin implementarea proiectelor</a:t>
            </a:r>
          </a:p>
          <a:p>
            <a:pPr marL="219236" indent="-219236" algn="just" defTabSz="914485">
              <a:spcBef>
                <a:spcPct val="20000"/>
              </a:spcBef>
              <a:buClr>
                <a:srgbClr val="E2001A"/>
              </a:buClr>
              <a:buFont typeface="Wingdings" pitchFamily="2" charset="2"/>
              <a:buChar char="Ø"/>
            </a:pPr>
            <a:r>
              <a:rPr lang="en-US" sz="1100" dirty="0"/>
              <a:t>Echipa dedicata de specialisti</a:t>
            </a:r>
          </a:p>
          <a:p>
            <a:pPr marL="219236" indent="-219236" algn="just" defTabSz="914485">
              <a:spcBef>
                <a:spcPct val="20000"/>
              </a:spcBef>
              <a:buClr>
                <a:srgbClr val="E2001A"/>
              </a:buClr>
              <a:buFont typeface="Wingdings" pitchFamily="2" charset="2"/>
              <a:buChar char="Ø"/>
            </a:pPr>
            <a:r>
              <a:rPr lang="en-US" sz="1100" dirty="0"/>
              <a:t>Flexibilitate in structurarea facilitatilor de creditare  </a:t>
            </a:r>
          </a:p>
          <a:p>
            <a:pPr marL="219236" indent="-219236" algn="just" defTabSz="914485">
              <a:spcBef>
                <a:spcPct val="20000"/>
              </a:spcBef>
              <a:buClr>
                <a:srgbClr val="E2001A"/>
              </a:buClr>
              <a:buFont typeface="Wingdings" pitchFamily="2" charset="2"/>
              <a:buChar char="Ø"/>
            </a:pPr>
            <a:r>
              <a:rPr lang="en-US" sz="1100" dirty="0"/>
              <a:t>Parteneriate cu institutii de </a:t>
            </a:r>
            <a:r>
              <a:rPr lang="en-US" sz="1100" dirty="0" err="1" smtClean="0"/>
              <a:t>garantare</a:t>
            </a:r>
            <a:endParaRPr lang="en-US" sz="1100" dirty="0" smtClean="0"/>
          </a:p>
          <a:p>
            <a:pPr marL="219236" indent="-219236" algn="just" defTabSz="914485">
              <a:spcBef>
                <a:spcPct val="20000"/>
              </a:spcBef>
              <a:buClr>
                <a:srgbClr val="E2001A"/>
              </a:buClr>
              <a:buFont typeface="Wingdings" pitchFamily="2" charset="2"/>
              <a:buChar char="Ø"/>
            </a:pPr>
            <a:r>
              <a:rPr lang="en-US" sz="1100" dirty="0" err="1" smtClean="0"/>
              <a:t>Operativitate</a:t>
            </a:r>
            <a:r>
              <a:rPr lang="en-US" sz="1100" dirty="0" smtClean="0"/>
              <a:t> </a:t>
            </a:r>
            <a:endParaRPr lang="en-US" sz="1100" dirty="0"/>
          </a:p>
        </p:txBody>
      </p:sp>
      <p:cxnSp>
        <p:nvCxnSpPr>
          <p:cNvPr id="19" name="Straight Connector 18"/>
          <p:cNvCxnSpPr/>
          <p:nvPr/>
        </p:nvCxnSpPr>
        <p:spPr>
          <a:xfrm>
            <a:off x="-39233" y="3399683"/>
            <a:ext cx="9063240" cy="0"/>
          </a:xfrm>
          <a:prstGeom prst="line">
            <a:avLst/>
          </a:prstGeom>
          <a:ln>
            <a:solidFill>
              <a:schemeClr val="bg1">
                <a:lumMod val="75000"/>
              </a:schemeClr>
            </a:solidFill>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a:xfrm>
            <a:off x="1" y="1434349"/>
            <a:ext cx="9063240" cy="0"/>
          </a:xfrm>
          <a:prstGeom prst="line">
            <a:avLst/>
          </a:prstGeom>
          <a:ln>
            <a:solidFill>
              <a:schemeClr val="bg1">
                <a:lumMod val="75000"/>
              </a:schemeClr>
            </a:solidFill>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a:xfrm>
            <a:off x="80760" y="2226969"/>
            <a:ext cx="9063241" cy="0"/>
          </a:xfrm>
          <a:prstGeom prst="line">
            <a:avLst/>
          </a:prstGeom>
          <a:ln>
            <a:solidFill>
              <a:schemeClr val="bg1">
                <a:lumMod val="75000"/>
              </a:schemeClr>
            </a:solidFill>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778659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5FA51537-151A-41D6-B1FD-F0CA55281F69}" type="slidenum">
              <a:rPr lang="en-US" smtClean="0"/>
              <a:pPr/>
              <a:t>6</a:t>
            </a:fld>
            <a:endParaRPr lang="en-US" dirty="0"/>
          </a:p>
        </p:txBody>
      </p:sp>
      <p:sp>
        <p:nvSpPr>
          <p:cNvPr id="5" name="Rectangle 13"/>
          <p:cNvSpPr>
            <a:spLocks noGrp="1" noChangeArrowheads="1"/>
          </p:cNvSpPr>
          <p:nvPr>
            <p:ph type="title"/>
          </p:nvPr>
        </p:nvSpPr>
        <p:spPr>
          <a:xfrm>
            <a:off x="270001" y="247645"/>
            <a:ext cx="7671521" cy="435717"/>
          </a:xfrm>
        </p:spPr>
        <p:txBody>
          <a:bodyPr vert="horz" wrap="square" lIns="0" tIns="0" rIns="0" bIns="0" rtlCol="0" anchor="ctr" anchorCtr="0">
            <a:noAutofit/>
          </a:bodyPr>
          <a:lstStyle/>
          <a:p>
            <a:r>
              <a:rPr lang="en-US" i="1" dirty="0" smtClean="0">
                <a:solidFill>
                  <a:schemeClr val="accent2">
                    <a:lumMod val="75000"/>
                  </a:schemeClr>
                </a:solidFill>
              </a:rPr>
              <a:t>PRODUSE PENTRU FINANTAREA PROIECTELOR DIN FONDURI EUROPENE / NATIONALE</a:t>
            </a:r>
            <a:endParaRPr lang="en-US" i="1" dirty="0">
              <a:solidFill>
                <a:schemeClr val="accent2">
                  <a:lumMod val="75000"/>
                </a:schemeClr>
              </a:solidFill>
            </a:endParaRPr>
          </a:p>
        </p:txBody>
      </p:sp>
      <p:sp>
        <p:nvSpPr>
          <p:cNvPr id="8" name="Text Box 10"/>
          <p:cNvSpPr txBox="1">
            <a:spLocks noChangeArrowheads="1"/>
          </p:cNvSpPr>
          <p:nvPr/>
        </p:nvSpPr>
        <p:spPr bwMode="auto">
          <a:xfrm>
            <a:off x="2115069" y="964873"/>
            <a:ext cx="6816283" cy="338554"/>
          </a:xfrm>
          <a:prstGeom prst="rect">
            <a:avLst/>
          </a:prstGeom>
          <a:noFill/>
          <a:ln w="9525" algn="ctr">
            <a:noFill/>
            <a:miter lim="800000"/>
            <a:headEnd/>
            <a:tailEnd/>
          </a:ln>
        </p:spPr>
        <p:txBody>
          <a:bodyPr wrap="square" lIns="0" tIns="0" rIns="0" bIns="0">
            <a:spAutoFit/>
          </a:bodyPr>
          <a:lstStyle/>
          <a:p>
            <a:pPr marL="228600" indent="-228600" algn="just" defTabSz="914485">
              <a:spcBef>
                <a:spcPct val="20000"/>
              </a:spcBef>
              <a:buClr>
                <a:srgbClr val="E2001A"/>
              </a:buClr>
              <a:buFont typeface="Wingdings" pitchFamily="2" charset="2"/>
              <a:buChar char="Ø"/>
            </a:pPr>
            <a:r>
              <a:rPr lang="af-ZA" altLang="en-US" sz="1100" dirty="0"/>
              <a:t>Se acorda pentru a demonstra capacitatea financiara de sustinere a proiectului la depunerea proiectului sau la semnarea contractului de finantare cu </a:t>
            </a:r>
            <a:r>
              <a:rPr lang="af-ZA" altLang="en-US" sz="1100" dirty="0" smtClean="0"/>
              <a:t>autoritatile, in cazurile in care aceasta este solicitata.</a:t>
            </a:r>
            <a:endParaRPr lang="af-ZA" sz="1100" dirty="0"/>
          </a:p>
        </p:txBody>
      </p:sp>
      <p:sp>
        <p:nvSpPr>
          <p:cNvPr id="3" name="Pentagon 2"/>
          <p:cNvSpPr/>
          <p:nvPr/>
        </p:nvSpPr>
        <p:spPr bwMode="gray">
          <a:xfrm>
            <a:off x="126938" y="862409"/>
            <a:ext cx="1958977" cy="427661"/>
          </a:xfrm>
          <a:prstGeom prst="homePlate">
            <a:avLst/>
          </a:prstGeom>
          <a:solidFill>
            <a:srgbClr val="00A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Scrisoare de confort</a:t>
            </a:r>
            <a:endParaRPr lang="en-US" sz="1400" dirty="0">
              <a:solidFill>
                <a:schemeClr val="bg1"/>
              </a:solidFill>
            </a:endParaRPr>
          </a:p>
        </p:txBody>
      </p:sp>
      <p:sp>
        <p:nvSpPr>
          <p:cNvPr id="10" name="Pentagon 9"/>
          <p:cNvSpPr/>
          <p:nvPr/>
        </p:nvSpPr>
        <p:spPr bwMode="gray">
          <a:xfrm>
            <a:off x="124188" y="1387654"/>
            <a:ext cx="1958977" cy="538151"/>
          </a:xfrm>
          <a:prstGeom prst="homePlate">
            <a:avLst/>
          </a:prstGeom>
          <a:solidFill>
            <a:srgbClr val="00A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Scrisoare de garantie</a:t>
            </a:r>
            <a:endParaRPr lang="en-US" sz="1400" dirty="0">
              <a:solidFill>
                <a:schemeClr val="bg1"/>
              </a:solidFill>
            </a:endParaRPr>
          </a:p>
        </p:txBody>
      </p:sp>
      <p:sp>
        <p:nvSpPr>
          <p:cNvPr id="11" name="Rectangle 10"/>
          <p:cNvSpPr/>
          <p:nvPr/>
        </p:nvSpPr>
        <p:spPr>
          <a:xfrm>
            <a:off x="2115068" y="1329046"/>
            <a:ext cx="6607774" cy="744819"/>
          </a:xfrm>
          <a:prstGeom prst="rect">
            <a:avLst/>
          </a:prstGeom>
          <a:noFill/>
          <a:ln w="9525" algn="ctr">
            <a:noFill/>
            <a:miter lim="800000"/>
            <a:headEnd/>
            <a:tailEnd/>
          </a:ln>
        </p:spPr>
        <p:txBody>
          <a:bodyPr wrap="square" lIns="0" tIns="0" rIns="0" bIns="0">
            <a:spAutoFit/>
          </a:bodyPr>
          <a:lstStyle/>
          <a:p>
            <a:pPr marL="228600" indent="-228600" algn="just" defTabSz="914485">
              <a:spcBef>
                <a:spcPct val="20000"/>
              </a:spcBef>
              <a:buClr>
                <a:srgbClr val="E2001A"/>
              </a:buClr>
              <a:buFont typeface="Wingdings" pitchFamily="2" charset="2"/>
              <a:buChar char="Ø"/>
              <a:tabLst>
                <a:tab pos="57150" algn="l"/>
              </a:tabLst>
            </a:pPr>
            <a:r>
              <a:rPr lang="en-US" sz="1100" dirty="0"/>
              <a:t>Se acorda pentru a garanta valoarea prefinantarii / avansului pe care beneficiarul o/il solicita de la autoritati</a:t>
            </a:r>
          </a:p>
          <a:p>
            <a:pPr algn="just" defTabSz="914485">
              <a:spcBef>
                <a:spcPct val="20000"/>
              </a:spcBef>
              <a:buClr>
                <a:srgbClr val="E2001A"/>
              </a:buClr>
            </a:pPr>
            <a:r>
              <a:rPr lang="af-ZA" sz="1100" b="1" dirty="0" smtClean="0"/>
              <a:t>Caracteristici:</a:t>
            </a:r>
          </a:p>
          <a:p>
            <a:pPr marL="171450" indent="-171450" algn="just" defTabSz="914485">
              <a:spcBef>
                <a:spcPct val="10000"/>
              </a:spcBef>
              <a:buClr>
                <a:srgbClr val="E2001A"/>
              </a:buClr>
              <a:buFont typeface="Wingdings" panose="05000000000000000000" pitchFamily="2" charset="2"/>
              <a:buChar char="Ø"/>
            </a:pPr>
            <a:r>
              <a:rPr lang="af-ZA" sz="1100" b="1" dirty="0" smtClean="0"/>
              <a:t> Valoare:</a:t>
            </a:r>
            <a:r>
              <a:rPr lang="af-ZA" sz="1100" dirty="0" smtClean="0"/>
              <a:t> pana la 100% din prefinantare, in functie de programul de finantare.</a:t>
            </a:r>
          </a:p>
          <a:p>
            <a:pPr marL="171450" indent="-171450" algn="just" defTabSz="914485">
              <a:spcBef>
                <a:spcPct val="10000"/>
              </a:spcBef>
              <a:buClr>
                <a:srgbClr val="E2001A"/>
              </a:buClr>
              <a:buFont typeface="Wingdings" panose="05000000000000000000" pitchFamily="2" charset="2"/>
              <a:buChar char="Ø"/>
            </a:pPr>
            <a:r>
              <a:rPr lang="af-ZA" sz="1100" b="1" dirty="0" smtClean="0"/>
              <a:t> Valoarea prefinantarii</a:t>
            </a:r>
            <a:r>
              <a:rPr lang="af-ZA" sz="1100" dirty="0" smtClean="0"/>
              <a:t>: pana la 35%-50% din ajutorul nerambursabil, in functie de programul de finantare.</a:t>
            </a:r>
            <a:endParaRPr lang="af-ZA" sz="1100" dirty="0"/>
          </a:p>
        </p:txBody>
      </p:sp>
      <p:sp>
        <p:nvSpPr>
          <p:cNvPr id="9" name="Pentagon 8"/>
          <p:cNvSpPr/>
          <p:nvPr/>
        </p:nvSpPr>
        <p:spPr bwMode="gray">
          <a:xfrm>
            <a:off x="124193" y="2222329"/>
            <a:ext cx="1958977" cy="538151"/>
          </a:xfrm>
          <a:prstGeom prst="homePlate">
            <a:avLst/>
          </a:prstGeom>
          <a:solidFill>
            <a:srgbClr val="00A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Facilitati pe termen scurt</a:t>
            </a:r>
            <a:endParaRPr lang="en-US" sz="1400" dirty="0">
              <a:solidFill>
                <a:schemeClr val="bg1"/>
              </a:solidFill>
            </a:endParaRPr>
          </a:p>
        </p:txBody>
      </p:sp>
      <p:sp>
        <p:nvSpPr>
          <p:cNvPr id="12" name="Text Box 12"/>
          <p:cNvSpPr txBox="1">
            <a:spLocks noChangeArrowheads="1"/>
          </p:cNvSpPr>
          <p:nvPr/>
        </p:nvSpPr>
        <p:spPr bwMode="auto">
          <a:xfrm>
            <a:off x="2100223" y="2222329"/>
            <a:ext cx="6658726" cy="778675"/>
          </a:xfrm>
          <a:prstGeom prst="rect">
            <a:avLst/>
          </a:prstGeom>
          <a:noFill/>
          <a:ln w="9525" algn="ctr">
            <a:noFill/>
            <a:miter lim="800000"/>
            <a:headEnd/>
            <a:tailEnd/>
          </a:ln>
        </p:spPr>
        <p:txBody>
          <a:bodyPr wrap="square" lIns="0" tIns="0" rIns="0" bIns="0">
            <a:spAutoFit/>
          </a:bodyPr>
          <a:lstStyle/>
          <a:p>
            <a:pPr marL="219236" indent="-219236" algn="just" defTabSz="914485">
              <a:spcBef>
                <a:spcPct val="20000"/>
              </a:spcBef>
              <a:buClr>
                <a:srgbClr val="E2001A"/>
              </a:buClr>
              <a:buFont typeface="Wingdings" pitchFamily="2" charset="2"/>
              <a:buChar char="Ø"/>
            </a:pPr>
            <a:r>
              <a:rPr lang="af-ZA" sz="1100" dirty="0" smtClean="0"/>
              <a:t>Se acorda pentru finantarea TVA-ului, atat pentru cheltuielile eligibile, cat si pentru cheltuielile neeligibile</a:t>
            </a:r>
          </a:p>
          <a:p>
            <a:pPr algn="just" defTabSz="914485">
              <a:spcBef>
                <a:spcPct val="20000"/>
              </a:spcBef>
              <a:buClr>
                <a:srgbClr val="E2001A"/>
              </a:buClr>
            </a:pPr>
            <a:r>
              <a:rPr lang="af-ZA" sz="1100" b="1" dirty="0" smtClean="0"/>
              <a:t>Caracteristici:</a:t>
            </a:r>
          </a:p>
          <a:p>
            <a:pPr marL="171450" indent="-171450" algn="just" defTabSz="914485">
              <a:spcBef>
                <a:spcPct val="20000"/>
              </a:spcBef>
              <a:buClr>
                <a:srgbClr val="E2001A"/>
              </a:buClr>
              <a:buFont typeface="Wingdings" panose="05000000000000000000" pitchFamily="2" charset="2"/>
              <a:buChar char="Ø"/>
            </a:pPr>
            <a:r>
              <a:rPr lang="af-ZA" sz="1100" b="1" dirty="0" smtClean="0"/>
              <a:t>Valoare</a:t>
            </a:r>
            <a:r>
              <a:rPr lang="af-ZA" sz="1100" dirty="0" smtClean="0"/>
              <a:t>: Pana la 100% din valoarea acestor cheltuieli</a:t>
            </a:r>
            <a:endParaRPr lang="af-ZA" sz="1100" dirty="0"/>
          </a:p>
          <a:p>
            <a:pPr marL="171450" indent="-171450" algn="just" defTabSz="914485">
              <a:spcBef>
                <a:spcPct val="20000"/>
              </a:spcBef>
              <a:buClr>
                <a:srgbClr val="E2001A"/>
              </a:buClr>
              <a:buFont typeface="Wingdings" panose="05000000000000000000" pitchFamily="2" charset="2"/>
              <a:buChar char="Ø"/>
            </a:pPr>
            <a:r>
              <a:rPr lang="af-ZA" sz="1100" b="1" dirty="0" smtClean="0"/>
              <a:t>Valabilitate</a:t>
            </a:r>
            <a:r>
              <a:rPr lang="af-ZA" sz="1100" dirty="0" smtClean="0"/>
              <a:t>: pana la 12 luni, revolving</a:t>
            </a:r>
            <a:endParaRPr lang="af-ZA" sz="1100" dirty="0"/>
          </a:p>
        </p:txBody>
      </p:sp>
      <p:sp>
        <p:nvSpPr>
          <p:cNvPr id="13" name="Pentagon 12"/>
          <p:cNvSpPr/>
          <p:nvPr/>
        </p:nvSpPr>
        <p:spPr bwMode="gray">
          <a:xfrm>
            <a:off x="124192" y="3267961"/>
            <a:ext cx="1958977" cy="470827"/>
          </a:xfrm>
          <a:prstGeom prst="homePlate">
            <a:avLst/>
          </a:prstGeom>
          <a:solidFill>
            <a:srgbClr val="00A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Creditul punte</a:t>
            </a:r>
            <a:endParaRPr lang="en-US" sz="1400" dirty="0">
              <a:solidFill>
                <a:schemeClr val="bg1"/>
              </a:solidFill>
            </a:endParaRPr>
          </a:p>
        </p:txBody>
      </p:sp>
      <p:sp>
        <p:nvSpPr>
          <p:cNvPr id="14" name="Text Box 9"/>
          <p:cNvSpPr txBox="1">
            <a:spLocks noChangeArrowheads="1"/>
          </p:cNvSpPr>
          <p:nvPr/>
        </p:nvSpPr>
        <p:spPr bwMode="auto">
          <a:xfrm>
            <a:off x="2096548" y="3151196"/>
            <a:ext cx="6888226" cy="1184940"/>
          </a:xfrm>
          <a:prstGeom prst="rect">
            <a:avLst/>
          </a:prstGeom>
          <a:noFill/>
          <a:ln w="9525" algn="ctr">
            <a:noFill/>
            <a:miter lim="800000"/>
            <a:headEnd/>
            <a:tailEnd/>
          </a:ln>
        </p:spPr>
        <p:txBody>
          <a:bodyPr wrap="square" lIns="0" tIns="0" rIns="0" bIns="0">
            <a:spAutoFit/>
          </a:bodyPr>
          <a:lstStyle/>
          <a:p>
            <a:pPr marL="219236" indent="-219236" algn="just" defTabSz="914485">
              <a:spcBef>
                <a:spcPct val="20000"/>
              </a:spcBef>
              <a:buClr>
                <a:srgbClr val="E2001A"/>
              </a:buClr>
              <a:buFont typeface="Wingdings" pitchFamily="2" charset="2"/>
              <a:buChar char="Ø"/>
            </a:pPr>
            <a:r>
              <a:rPr lang="en-US" sz="1100" dirty="0"/>
              <a:t>Asigura necesarul de finantare pana la momentul incasarii sumelor nerambursabile de la autoritati</a:t>
            </a:r>
          </a:p>
          <a:p>
            <a:pPr marL="219236" indent="-219236" algn="just" defTabSz="914485">
              <a:spcBef>
                <a:spcPct val="20000"/>
              </a:spcBef>
              <a:buClr>
                <a:srgbClr val="E2001A"/>
              </a:buClr>
              <a:buFont typeface="Wingdings" pitchFamily="2" charset="2"/>
              <a:buChar char="Ø"/>
            </a:pPr>
            <a:r>
              <a:rPr lang="pt-BR" sz="1100" dirty="0"/>
              <a:t>Se acorda exclusiv pentru valoarea nerambursabila</a:t>
            </a:r>
          </a:p>
          <a:p>
            <a:pPr marL="219236" indent="-219236" algn="just" defTabSz="914485">
              <a:spcBef>
                <a:spcPct val="20000"/>
              </a:spcBef>
              <a:buClr>
                <a:srgbClr val="E2001A"/>
              </a:buClr>
            </a:pPr>
            <a:r>
              <a:rPr lang="af-ZA" sz="1100" b="1" dirty="0" smtClean="0"/>
              <a:t>Caracteristici</a:t>
            </a:r>
            <a:endParaRPr lang="af-ZA" sz="1100" dirty="0"/>
          </a:p>
          <a:p>
            <a:pPr marL="219236" indent="-219236" algn="just" defTabSz="914485">
              <a:spcBef>
                <a:spcPct val="20000"/>
              </a:spcBef>
              <a:buClr>
                <a:srgbClr val="E2001A"/>
              </a:buClr>
              <a:buFont typeface="Wingdings" pitchFamily="2" charset="2"/>
              <a:buChar char="Ø"/>
            </a:pPr>
            <a:r>
              <a:rPr lang="af-ZA" sz="1100" b="1" dirty="0" smtClean="0"/>
              <a:t>Valoarea:</a:t>
            </a:r>
            <a:r>
              <a:rPr lang="af-ZA" sz="1100" dirty="0" smtClean="0"/>
              <a:t> pana la 100% din valoarea ajutorului nerambursabil</a:t>
            </a:r>
            <a:endParaRPr lang="af-ZA" sz="1100" dirty="0"/>
          </a:p>
          <a:p>
            <a:pPr marL="219236" indent="-219236" algn="just" defTabSz="914485">
              <a:spcBef>
                <a:spcPct val="20000"/>
              </a:spcBef>
              <a:buClr>
                <a:srgbClr val="E2001A"/>
              </a:buClr>
              <a:buFont typeface="Wingdings" pitchFamily="2" charset="2"/>
              <a:buChar char="Ø"/>
            </a:pPr>
            <a:r>
              <a:rPr lang="af-ZA" sz="1100" b="1" dirty="0" smtClean="0"/>
              <a:t>Valabilitate:</a:t>
            </a:r>
            <a:r>
              <a:rPr lang="af-ZA" sz="1100" dirty="0" smtClean="0"/>
              <a:t> 3 luni dupa implementarea proiectului</a:t>
            </a:r>
          </a:p>
          <a:p>
            <a:pPr marL="219236" indent="-219236" algn="just" defTabSz="914485">
              <a:spcBef>
                <a:spcPct val="20000"/>
              </a:spcBef>
              <a:buClr>
                <a:srgbClr val="E2001A"/>
              </a:buClr>
              <a:buFont typeface="Wingdings" pitchFamily="2" charset="2"/>
              <a:buChar char="Ø"/>
            </a:pPr>
            <a:r>
              <a:rPr lang="af-ZA" sz="1100" b="1" dirty="0" smtClean="0"/>
              <a:t>Colaterale:</a:t>
            </a:r>
            <a:r>
              <a:rPr lang="af-ZA" sz="1100" dirty="0"/>
              <a:t> </a:t>
            </a:r>
            <a:r>
              <a:rPr lang="af-ZA" sz="1100" dirty="0" smtClean="0"/>
              <a:t>fara garantii pana la suma 1 milion RON</a:t>
            </a:r>
            <a:endParaRPr lang="en-US" sz="1100" i="1" dirty="0"/>
          </a:p>
        </p:txBody>
      </p:sp>
      <p:sp>
        <p:nvSpPr>
          <p:cNvPr id="15" name="Pentagon 14"/>
          <p:cNvSpPr/>
          <p:nvPr/>
        </p:nvSpPr>
        <p:spPr bwMode="gray">
          <a:xfrm>
            <a:off x="124190" y="4222336"/>
            <a:ext cx="1958977" cy="427104"/>
          </a:xfrm>
          <a:prstGeom prst="homePlate">
            <a:avLst/>
          </a:prstGeom>
          <a:solidFill>
            <a:srgbClr val="00A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Creditul de investitii</a:t>
            </a:r>
            <a:endParaRPr lang="en-US" sz="1400" dirty="0">
              <a:solidFill>
                <a:schemeClr val="bg1"/>
              </a:solidFill>
            </a:endParaRPr>
          </a:p>
        </p:txBody>
      </p:sp>
      <p:sp>
        <p:nvSpPr>
          <p:cNvPr id="16" name="Text Box 13"/>
          <p:cNvSpPr txBox="1">
            <a:spLocks noChangeArrowheads="1"/>
          </p:cNvSpPr>
          <p:nvPr/>
        </p:nvSpPr>
        <p:spPr bwMode="auto">
          <a:xfrm>
            <a:off x="2096548" y="4293436"/>
            <a:ext cx="6966693" cy="372410"/>
          </a:xfrm>
          <a:prstGeom prst="rect">
            <a:avLst/>
          </a:prstGeom>
          <a:noFill/>
          <a:ln w="9525" algn="ctr">
            <a:noFill/>
            <a:miter lim="800000"/>
            <a:headEnd/>
            <a:tailEnd/>
          </a:ln>
        </p:spPr>
        <p:txBody>
          <a:bodyPr wrap="square" lIns="0" tIns="0" rIns="0" bIns="0">
            <a:spAutoFit/>
          </a:bodyPr>
          <a:lstStyle/>
          <a:p>
            <a:pPr marL="219236" indent="-219236" algn="just" defTabSz="914485">
              <a:spcBef>
                <a:spcPct val="20000"/>
              </a:spcBef>
              <a:buClr>
                <a:srgbClr val="E2001A"/>
              </a:buClr>
              <a:buFont typeface="Wingdings" pitchFamily="2" charset="2"/>
              <a:buChar char="Ø"/>
            </a:pPr>
            <a:r>
              <a:rPr lang="en-US" sz="1100" dirty="0"/>
              <a:t>Se acorda pentru asigurarea contributiei proprii a beneficiarului la proiect</a:t>
            </a:r>
          </a:p>
          <a:p>
            <a:pPr marL="219236" indent="-219236" algn="just" defTabSz="914485">
              <a:spcBef>
                <a:spcPct val="20000"/>
              </a:spcBef>
              <a:buClr>
                <a:srgbClr val="E2001A"/>
              </a:buClr>
              <a:buFont typeface="Wingdings" pitchFamily="2" charset="2"/>
              <a:buChar char="Ø"/>
            </a:pPr>
            <a:r>
              <a:rPr lang="af-ZA" sz="1100" b="1" dirty="0" smtClean="0"/>
              <a:t>Valoarea</a:t>
            </a:r>
            <a:r>
              <a:rPr lang="af-ZA" sz="1100" dirty="0" smtClean="0"/>
              <a:t>: </a:t>
            </a:r>
            <a:r>
              <a:rPr lang="en-US" sz="1100" dirty="0" smtClean="0"/>
              <a:t>pana la 100% din contributia proprie la cheltuielile eligibile ale proiectului</a:t>
            </a:r>
            <a:endParaRPr lang="af-ZA" sz="1100" dirty="0"/>
          </a:p>
        </p:txBody>
      </p:sp>
      <p:cxnSp>
        <p:nvCxnSpPr>
          <p:cNvPr id="19" name="Straight Connector 18"/>
          <p:cNvCxnSpPr/>
          <p:nvPr/>
        </p:nvCxnSpPr>
        <p:spPr>
          <a:xfrm>
            <a:off x="0" y="4148043"/>
            <a:ext cx="9063240" cy="0"/>
          </a:xfrm>
          <a:prstGeom prst="line">
            <a:avLst/>
          </a:prstGeom>
          <a:ln>
            <a:solidFill>
              <a:schemeClr val="bg1">
                <a:lumMod val="75000"/>
              </a:schemeClr>
            </a:solidFill>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a:off x="-1" y="1299957"/>
            <a:ext cx="9063241" cy="0"/>
          </a:xfrm>
          <a:prstGeom prst="line">
            <a:avLst/>
          </a:prstGeom>
          <a:ln>
            <a:solidFill>
              <a:schemeClr val="bg1">
                <a:lumMod val="75000"/>
              </a:schemeClr>
            </a:solidFill>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a:xfrm>
            <a:off x="0" y="2161711"/>
            <a:ext cx="9063240" cy="0"/>
          </a:xfrm>
          <a:prstGeom prst="line">
            <a:avLst/>
          </a:prstGeom>
          <a:ln>
            <a:solidFill>
              <a:schemeClr val="bg1">
                <a:lumMod val="75000"/>
              </a:schemeClr>
            </a:solidFill>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a:xfrm>
            <a:off x="0" y="3008663"/>
            <a:ext cx="9063241" cy="0"/>
          </a:xfrm>
          <a:prstGeom prst="line">
            <a:avLst/>
          </a:prstGeom>
          <a:ln>
            <a:solidFill>
              <a:schemeClr val="bg1">
                <a:lumMod val="75000"/>
              </a:schemeClr>
            </a:solidFill>
            <a:prstDash val="sysDot"/>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57115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485">
              <a:defRPr sz="1100">
                <a:solidFill>
                  <a:schemeClr val="tx1"/>
                </a:solidFill>
                <a:latin typeface="Arial" charset="0"/>
                <a:ea typeface="ＭＳ Ｐゴシック" pitchFamily="1" charset="-128"/>
              </a:defRPr>
            </a:lvl1pPr>
            <a:lvl2pPr marL="702756" indent="-270291" defTabSz="914485">
              <a:defRPr sz="1100">
                <a:solidFill>
                  <a:schemeClr val="tx1"/>
                </a:solidFill>
                <a:latin typeface="Arial" charset="0"/>
                <a:ea typeface="ＭＳ Ｐゴシック" pitchFamily="1" charset="-128"/>
              </a:defRPr>
            </a:lvl2pPr>
            <a:lvl3pPr marL="1081164" indent="-216233" defTabSz="914485">
              <a:defRPr sz="1100">
                <a:solidFill>
                  <a:schemeClr val="tx1"/>
                </a:solidFill>
                <a:latin typeface="Arial" charset="0"/>
                <a:ea typeface="ＭＳ Ｐゴシック" pitchFamily="1" charset="-128"/>
              </a:defRPr>
            </a:lvl3pPr>
            <a:lvl4pPr marL="1513629" indent="-216233" defTabSz="914485">
              <a:defRPr sz="1100">
                <a:solidFill>
                  <a:schemeClr val="tx1"/>
                </a:solidFill>
                <a:latin typeface="Arial" charset="0"/>
                <a:ea typeface="ＭＳ Ｐゴシック" pitchFamily="1" charset="-128"/>
              </a:defRPr>
            </a:lvl4pPr>
            <a:lvl5pPr marL="1946095" indent="-216233" defTabSz="914485">
              <a:defRPr sz="1100">
                <a:solidFill>
                  <a:schemeClr val="tx1"/>
                </a:solidFill>
                <a:latin typeface="Arial" charset="0"/>
                <a:ea typeface="ＭＳ Ｐゴシック" pitchFamily="1" charset="-128"/>
              </a:defRPr>
            </a:lvl5pPr>
            <a:lvl6pPr marL="2378560" indent="-216233" defTabSz="914485" eaLnBrk="0" fontAlgn="base" hangingPunct="0">
              <a:spcBef>
                <a:spcPct val="0"/>
              </a:spcBef>
              <a:spcAft>
                <a:spcPct val="0"/>
              </a:spcAft>
              <a:defRPr sz="1100">
                <a:solidFill>
                  <a:schemeClr val="tx1"/>
                </a:solidFill>
                <a:latin typeface="Arial" charset="0"/>
                <a:ea typeface="ＭＳ Ｐゴシック" pitchFamily="1" charset="-128"/>
              </a:defRPr>
            </a:lvl6pPr>
            <a:lvl7pPr marL="2811026" indent="-216233" defTabSz="914485" eaLnBrk="0" fontAlgn="base" hangingPunct="0">
              <a:spcBef>
                <a:spcPct val="0"/>
              </a:spcBef>
              <a:spcAft>
                <a:spcPct val="0"/>
              </a:spcAft>
              <a:defRPr sz="1100">
                <a:solidFill>
                  <a:schemeClr val="tx1"/>
                </a:solidFill>
                <a:latin typeface="Arial" charset="0"/>
                <a:ea typeface="ＭＳ Ｐゴシック" pitchFamily="1" charset="-128"/>
              </a:defRPr>
            </a:lvl7pPr>
            <a:lvl8pPr marL="3243491" indent="-216233" defTabSz="914485" eaLnBrk="0" fontAlgn="base" hangingPunct="0">
              <a:spcBef>
                <a:spcPct val="0"/>
              </a:spcBef>
              <a:spcAft>
                <a:spcPct val="0"/>
              </a:spcAft>
              <a:defRPr sz="1100">
                <a:solidFill>
                  <a:schemeClr val="tx1"/>
                </a:solidFill>
                <a:latin typeface="Arial" charset="0"/>
                <a:ea typeface="ＭＳ Ｐゴシック" pitchFamily="1" charset="-128"/>
              </a:defRPr>
            </a:lvl8pPr>
            <a:lvl9pPr marL="3675957" indent="-216233" defTabSz="914485" eaLnBrk="0" fontAlgn="base" hangingPunct="0">
              <a:spcBef>
                <a:spcPct val="0"/>
              </a:spcBef>
              <a:spcAft>
                <a:spcPct val="0"/>
              </a:spcAft>
              <a:defRPr sz="1100">
                <a:solidFill>
                  <a:schemeClr val="tx1"/>
                </a:solidFill>
                <a:latin typeface="Arial" charset="0"/>
                <a:ea typeface="ＭＳ Ｐゴシック" pitchFamily="1" charset="-128"/>
              </a:defRPr>
            </a:lvl9pPr>
          </a:lstStyle>
          <a:p>
            <a:pPr defTabSz="457200"/>
            <a:fld id="{D78F6CB5-C4B0-43A5-AE7E-C8DA961E2D3C}" type="slidenum">
              <a:rPr lang="en-GB" altLang="en-US" sz="900">
                <a:solidFill>
                  <a:srgbClr val="0092D1"/>
                </a:solidFill>
                <a:latin typeface="Arial"/>
                <a:ea typeface="+mn-ea"/>
              </a:rPr>
              <a:pPr defTabSz="457200"/>
              <a:t>7</a:t>
            </a:fld>
            <a:endParaRPr lang="en-GB" altLang="en-US" sz="900" dirty="0">
              <a:solidFill>
                <a:srgbClr val="0092D1"/>
              </a:solidFill>
              <a:latin typeface="Arial"/>
              <a:ea typeface="+mn-ea"/>
            </a:endParaRPr>
          </a:p>
        </p:txBody>
      </p:sp>
      <p:sp>
        <p:nvSpPr>
          <p:cNvPr id="6154" name="Rectangle 13"/>
          <p:cNvSpPr>
            <a:spLocks noGrp="1" noChangeArrowheads="1"/>
          </p:cNvSpPr>
          <p:nvPr>
            <p:ph type="title"/>
          </p:nvPr>
        </p:nvSpPr>
        <p:spPr>
          <a:xfrm>
            <a:off x="270000" y="175876"/>
            <a:ext cx="8716982" cy="435717"/>
          </a:xfrm>
          <a:noFill/>
        </p:spPr>
        <p:txBody>
          <a:bodyPr/>
          <a:lstStyle/>
          <a:p>
            <a:pPr eaLnBrk="1" hangingPunct="1"/>
            <a:r>
              <a:rPr lang="en-GB" altLang="en-US" i="1" dirty="0" smtClean="0">
                <a:solidFill>
                  <a:schemeClr val="accent2">
                    <a:lumMod val="75000"/>
                  </a:schemeClr>
                </a:solidFill>
              </a:rPr>
              <a:t>UNICREDIT – CEL MAI SCURT DRUM CATRE FONDURILE EUROPENE</a:t>
            </a:r>
          </a:p>
        </p:txBody>
      </p:sp>
      <p:sp>
        <p:nvSpPr>
          <p:cNvPr id="10" name="Text Box 17"/>
          <p:cNvSpPr txBox="1">
            <a:spLocks noChangeArrowheads="1"/>
          </p:cNvSpPr>
          <p:nvPr/>
        </p:nvSpPr>
        <p:spPr bwMode="auto">
          <a:xfrm>
            <a:off x="547226" y="1300505"/>
            <a:ext cx="8384633" cy="26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square" lIns="0" tIns="0" rIns="0" bIns="0">
            <a:spAutoFit/>
          </a:bodyPr>
          <a:lstStyle>
            <a:lvl1pPr>
              <a:defRPr sz="1200">
                <a:solidFill>
                  <a:schemeClr val="tx1"/>
                </a:solidFill>
                <a:latin typeface="Arial" charset="0"/>
                <a:ea typeface="ＭＳ Ｐゴシック" pitchFamily="1" charset="-128"/>
              </a:defRPr>
            </a:lvl1pPr>
            <a:lvl2pPr marL="742950" indent="-285750">
              <a:defRPr sz="1200">
                <a:solidFill>
                  <a:schemeClr val="tx1"/>
                </a:solidFill>
                <a:latin typeface="Arial" charset="0"/>
                <a:ea typeface="ＭＳ Ｐゴシック" pitchFamily="1" charset="-128"/>
              </a:defRPr>
            </a:lvl2pPr>
            <a:lvl3pPr marL="1143000" indent="-228600">
              <a:defRPr sz="1200">
                <a:solidFill>
                  <a:schemeClr val="tx1"/>
                </a:solidFill>
                <a:latin typeface="Arial" charset="0"/>
                <a:ea typeface="ＭＳ Ｐゴシック" pitchFamily="1" charset="-128"/>
              </a:defRPr>
            </a:lvl3pPr>
            <a:lvl4pPr marL="1600200" indent="-228600">
              <a:defRPr sz="1200">
                <a:solidFill>
                  <a:schemeClr val="tx1"/>
                </a:solidFill>
                <a:latin typeface="Arial" charset="0"/>
                <a:ea typeface="ＭＳ Ｐゴシック" pitchFamily="1" charset="-128"/>
              </a:defRPr>
            </a:lvl4pPr>
            <a:lvl5pPr marL="2057400" indent="-228600">
              <a:defRPr sz="1200">
                <a:solidFill>
                  <a:schemeClr val="tx1"/>
                </a:solidFill>
                <a:latin typeface="Arial" charset="0"/>
                <a:ea typeface="ＭＳ Ｐゴシック" pitchFamily="1" charset="-128"/>
              </a:defRPr>
            </a:lvl5pPr>
            <a:lvl6pPr marL="2514600" indent="-228600" eaLnBrk="0" fontAlgn="base" hangingPunct="0">
              <a:spcBef>
                <a:spcPct val="0"/>
              </a:spcBef>
              <a:spcAft>
                <a:spcPct val="0"/>
              </a:spcAft>
              <a:defRPr sz="1200">
                <a:solidFill>
                  <a:schemeClr val="tx1"/>
                </a:solidFill>
                <a:latin typeface="Arial" charset="0"/>
                <a:ea typeface="ＭＳ Ｐゴシック" pitchFamily="1" charset="-128"/>
              </a:defRPr>
            </a:lvl6pPr>
            <a:lvl7pPr marL="2971800" indent="-228600" eaLnBrk="0" fontAlgn="base" hangingPunct="0">
              <a:spcBef>
                <a:spcPct val="0"/>
              </a:spcBef>
              <a:spcAft>
                <a:spcPct val="0"/>
              </a:spcAft>
              <a:defRPr sz="1200">
                <a:solidFill>
                  <a:schemeClr val="tx1"/>
                </a:solidFill>
                <a:latin typeface="Arial" charset="0"/>
                <a:ea typeface="ＭＳ Ｐゴシック" pitchFamily="1" charset="-128"/>
              </a:defRPr>
            </a:lvl7pPr>
            <a:lvl8pPr marL="3429000" indent="-228600" eaLnBrk="0" fontAlgn="base" hangingPunct="0">
              <a:spcBef>
                <a:spcPct val="0"/>
              </a:spcBef>
              <a:spcAft>
                <a:spcPct val="0"/>
              </a:spcAft>
              <a:defRPr sz="1200">
                <a:solidFill>
                  <a:schemeClr val="tx1"/>
                </a:solidFill>
                <a:latin typeface="Arial" charset="0"/>
                <a:ea typeface="ＭＳ Ｐゴシック" pitchFamily="1" charset="-128"/>
              </a:defRPr>
            </a:lvl8pPr>
            <a:lvl9pPr marL="3886200" indent="-228600" eaLnBrk="0" fontAlgn="base" hangingPunct="0">
              <a:spcBef>
                <a:spcPct val="0"/>
              </a:spcBef>
              <a:spcAft>
                <a:spcPct val="0"/>
              </a:spcAft>
              <a:defRPr sz="1200">
                <a:solidFill>
                  <a:schemeClr val="tx1"/>
                </a:solidFill>
                <a:latin typeface="Arial" charset="0"/>
                <a:ea typeface="ＭＳ Ｐゴシック" pitchFamily="1" charset="-128"/>
              </a:defRPr>
            </a:lvl9pPr>
          </a:lstStyle>
          <a:p>
            <a:pPr algn="ctr">
              <a:spcBef>
                <a:spcPct val="50000"/>
              </a:spcBef>
            </a:pPr>
            <a:endParaRPr lang="af-ZA" altLang="en-US" sz="1900" b="1" dirty="0">
              <a:solidFill>
                <a:schemeClr val="folHlink"/>
              </a:solidFill>
            </a:endParaRPr>
          </a:p>
          <a:p>
            <a:pPr algn="ctr">
              <a:spcBef>
                <a:spcPct val="50000"/>
              </a:spcBef>
            </a:pPr>
            <a:endParaRPr lang="af-ZA" altLang="en-US" sz="1900" b="1" dirty="0">
              <a:solidFill>
                <a:schemeClr val="folHlink"/>
              </a:solidFill>
            </a:endParaRPr>
          </a:p>
          <a:p>
            <a:pPr algn="ctr">
              <a:spcBef>
                <a:spcPct val="50000"/>
              </a:spcBef>
            </a:pPr>
            <a:r>
              <a:rPr lang="af-ZA" altLang="en-US" sz="2400" b="1" dirty="0" smtClean="0"/>
              <a:t>UNICREDIT </a:t>
            </a:r>
            <a:r>
              <a:rPr lang="af-ZA" altLang="en-US" sz="2400" b="1" dirty="0"/>
              <a:t>BANK</a:t>
            </a:r>
          </a:p>
          <a:p>
            <a:pPr algn="ctr">
              <a:spcBef>
                <a:spcPct val="50000"/>
              </a:spcBef>
            </a:pPr>
            <a:r>
              <a:rPr lang="af-ZA" altLang="en-US" sz="1900" b="1" i="1" dirty="0" smtClean="0"/>
              <a:t>FINANTARI FONDURI UE</a:t>
            </a:r>
          </a:p>
          <a:p>
            <a:pPr algn="ctr">
              <a:spcBef>
                <a:spcPct val="50000"/>
              </a:spcBef>
            </a:pPr>
            <a:r>
              <a:rPr lang="af-ZA" altLang="en-US" sz="1900" b="1" i="1" dirty="0" smtClean="0"/>
              <a:t> </a:t>
            </a:r>
            <a:r>
              <a:rPr lang="af-ZA" altLang="en-US" sz="1900" b="1" dirty="0" smtClean="0">
                <a:solidFill>
                  <a:schemeClr val="bg2"/>
                </a:solidFill>
                <a:hlinkClick r:id="rId3"/>
              </a:rPr>
              <a:t>fondurieuropene@unicredit.ro</a:t>
            </a:r>
            <a:r>
              <a:rPr lang="af-ZA" altLang="en-US" sz="1900" b="1" dirty="0" smtClean="0">
                <a:solidFill>
                  <a:schemeClr val="bg2"/>
                </a:solidFill>
              </a:rPr>
              <a:t> </a:t>
            </a:r>
            <a:endParaRPr lang="af-ZA" altLang="en-US" sz="1900" b="1" dirty="0">
              <a:solidFill>
                <a:schemeClr val="bg2"/>
              </a:solidFill>
            </a:endParaRPr>
          </a:p>
          <a:p>
            <a:pPr algn="ctr">
              <a:spcBef>
                <a:spcPct val="50000"/>
              </a:spcBef>
            </a:pPr>
            <a:r>
              <a:rPr lang="af-ZA" altLang="en-US" sz="1900" b="1" dirty="0">
                <a:solidFill>
                  <a:schemeClr val="bg2"/>
                </a:solidFill>
                <a:hlinkClick r:id="rId3"/>
              </a:rPr>
              <a:t>https://www.unicredit.ro/ro/imm/Finantare/Fonduri-europene.html</a:t>
            </a:r>
            <a:endParaRPr lang="en-US" altLang="en-US" sz="1900" b="1" dirty="0">
              <a:solidFill>
                <a:schemeClr val="bg2"/>
              </a:solidFill>
              <a:hlinkClick r:id="rId3"/>
            </a:endParaRPr>
          </a:p>
        </p:txBody>
      </p:sp>
    </p:spTree>
    <p:extLst>
      <p:ext uri="{BB962C8B-B14F-4D97-AF65-F5344CB8AC3E}">
        <p14:creationId xmlns:p14="http://schemas.microsoft.com/office/powerpoint/2010/main" val="27065514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descr="\\Hofs\I&amp;C\UNICREDIT BRAND GUIDELINES\Logo UniCredit Bank\Logo 2D\UCB_CMYK_2D_RO_Brandline 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505" y="914401"/>
            <a:ext cx="8963150" cy="2940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2864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TEMPLATESTYLE" val="11"/>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1"/>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1"/>
</p:tagLst>
</file>

<file path=ppt/tags/tag12.xml><?xml version="1.0" encoding="utf-8"?>
<p:tagLst xmlns:a="http://schemas.openxmlformats.org/drawingml/2006/main" xmlns:r="http://schemas.openxmlformats.org/officeDocument/2006/relationships" xmlns:p="http://schemas.openxmlformats.org/presentationml/2006/main">
  <p:tag name="EE4P_TEMPLATESTYLE" val="11"/>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1"/>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1"/>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1"/>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1"/>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1"/>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1"/>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1"/>
</p:tagLst>
</file>

<file path=ppt/tags/tag2.xml><?xml version="1.0" encoding="utf-8"?>
<p:tagLst xmlns:a="http://schemas.openxmlformats.org/drawingml/2006/main" xmlns:r="http://schemas.openxmlformats.org/officeDocument/2006/relationships" xmlns:p="http://schemas.openxmlformats.org/presentationml/2006/main">
  <p:tag name="EE4P_TEMPLATESTYLE" val="11"/>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1"/>
</p:tagLst>
</file>

<file path=ppt/tags/tag21.xml><?xml version="1.0" encoding="utf-8"?>
<p:tagLst xmlns:a="http://schemas.openxmlformats.org/drawingml/2006/main" xmlns:r="http://schemas.openxmlformats.org/officeDocument/2006/relationships" xmlns:p="http://schemas.openxmlformats.org/presentationml/2006/main">
  <p:tag name="EE4P_TEMPLATESTYLE" val="11"/>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1"/>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1"/>
</p:tagLst>
</file>

<file path=ppt/tags/tag24.xml><?xml version="1.0" encoding="utf-8"?>
<p:tagLst xmlns:a="http://schemas.openxmlformats.org/drawingml/2006/main" xmlns:r="http://schemas.openxmlformats.org/officeDocument/2006/relationships" xmlns:p="http://schemas.openxmlformats.org/presentationml/2006/main">
  <p:tag name="EE4P_TEMPLATESTYLE" val="11"/>
</p:tagLst>
</file>

<file path=ppt/tags/tag25.xml><?xml version="1.0" encoding="utf-8"?>
<p:tagLst xmlns:a="http://schemas.openxmlformats.org/drawingml/2006/main" xmlns:r="http://schemas.openxmlformats.org/officeDocument/2006/relationships" xmlns:p="http://schemas.openxmlformats.org/presentationml/2006/main">
  <p:tag name="EE4P_TEMPLATESTYLE" val="11"/>
</p:tagLst>
</file>

<file path=ppt/tags/tag26.xml><?xml version="1.0" encoding="utf-8"?>
<p:tagLst xmlns:a="http://schemas.openxmlformats.org/drawingml/2006/main" xmlns:r="http://schemas.openxmlformats.org/officeDocument/2006/relationships" xmlns:p="http://schemas.openxmlformats.org/presentationml/2006/main">
  <p:tag name="EE4P_TEMPLATESTYLE" val="11"/>
</p:tagLst>
</file>

<file path=ppt/tags/tag27.xml><?xml version="1.0" encoding="utf-8"?>
<p:tagLst xmlns:a="http://schemas.openxmlformats.org/drawingml/2006/main" xmlns:r="http://schemas.openxmlformats.org/officeDocument/2006/relationships" xmlns:p="http://schemas.openxmlformats.org/presentationml/2006/main">
  <p:tag name="EE4P_TEMPLATESTYLE" val="11"/>
</p:tagLst>
</file>

<file path=ppt/tags/tag28.xml><?xml version="1.0" encoding="utf-8"?>
<p:tagLst xmlns:a="http://schemas.openxmlformats.org/drawingml/2006/main" xmlns:r="http://schemas.openxmlformats.org/officeDocument/2006/relationships" xmlns:p="http://schemas.openxmlformats.org/presentationml/2006/main">
  <p:tag name="EE4P_TEMPLATESTYLE" val="11"/>
</p:tagLst>
</file>

<file path=ppt/tags/tag29.xml><?xml version="1.0" encoding="utf-8"?>
<p:tagLst xmlns:a="http://schemas.openxmlformats.org/drawingml/2006/main" xmlns:r="http://schemas.openxmlformats.org/officeDocument/2006/relationships" xmlns:p="http://schemas.openxmlformats.org/presentationml/2006/main">
  <p:tag name="EE4P_TEMPLATESTYLE" val="11"/>
</p:tagLst>
</file>

<file path=ppt/tags/tag3.xml><?xml version="1.0" encoding="utf-8"?>
<p:tagLst xmlns:a="http://schemas.openxmlformats.org/drawingml/2006/main" xmlns:r="http://schemas.openxmlformats.org/officeDocument/2006/relationships" xmlns:p="http://schemas.openxmlformats.org/presentationml/2006/main">
  <p:tag name="EE4P_TEMPLATESTYLE" val="11"/>
</p:tagLst>
</file>

<file path=ppt/tags/tag30.xml><?xml version="1.0" encoding="utf-8"?>
<p:tagLst xmlns:a="http://schemas.openxmlformats.org/drawingml/2006/main" xmlns:r="http://schemas.openxmlformats.org/officeDocument/2006/relationships" xmlns:p="http://schemas.openxmlformats.org/presentationml/2006/main">
  <p:tag name="EE4P_TEMPLATESTYLE" val="11"/>
</p:tagLst>
</file>

<file path=ppt/tags/tag31.xml><?xml version="1.0" encoding="utf-8"?>
<p:tagLst xmlns:a="http://schemas.openxmlformats.org/drawingml/2006/main" xmlns:r="http://schemas.openxmlformats.org/officeDocument/2006/relationships" xmlns:p="http://schemas.openxmlformats.org/presentationml/2006/main">
  <p:tag name="EE4P_TEMPLATESTYLE" val="11"/>
</p:tagLst>
</file>

<file path=ppt/tags/tag32.xml><?xml version="1.0" encoding="utf-8"?>
<p:tagLst xmlns:a="http://schemas.openxmlformats.org/drawingml/2006/main" xmlns:r="http://schemas.openxmlformats.org/officeDocument/2006/relationships" xmlns:p="http://schemas.openxmlformats.org/presentationml/2006/main">
  <p:tag name="EE4P_TEMPLATESTYLE" val="11"/>
</p:tagLst>
</file>

<file path=ppt/tags/tag33.xml><?xml version="1.0" encoding="utf-8"?>
<p:tagLst xmlns:a="http://schemas.openxmlformats.org/drawingml/2006/main" xmlns:r="http://schemas.openxmlformats.org/officeDocument/2006/relationships" xmlns:p="http://schemas.openxmlformats.org/presentationml/2006/main">
  <p:tag name="EE4P_TEMPLATESTYLE" val="11"/>
</p:tagLst>
</file>

<file path=ppt/tags/tag34.xml><?xml version="1.0" encoding="utf-8"?>
<p:tagLst xmlns:a="http://schemas.openxmlformats.org/drawingml/2006/main" xmlns:r="http://schemas.openxmlformats.org/officeDocument/2006/relationships" xmlns:p="http://schemas.openxmlformats.org/presentationml/2006/main">
  <p:tag name="EE4P_TEMPLATESTYLE" val="11"/>
</p:tagLst>
</file>

<file path=ppt/tags/tag35.xml><?xml version="1.0" encoding="utf-8"?>
<p:tagLst xmlns:a="http://schemas.openxmlformats.org/drawingml/2006/main" xmlns:r="http://schemas.openxmlformats.org/officeDocument/2006/relationships" xmlns:p="http://schemas.openxmlformats.org/presentationml/2006/main">
  <p:tag name="EE4P_TEMPLATESTYLE" val="11"/>
</p:tagLst>
</file>

<file path=ppt/tags/tag36.xml><?xml version="1.0" encoding="utf-8"?>
<p:tagLst xmlns:a="http://schemas.openxmlformats.org/drawingml/2006/main" xmlns:r="http://schemas.openxmlformats.org/officeDocument/2006/relationships" xmlns:p="http://schemas.openxmlformats.org/presentationml/2006/main">
  <p:tag name="EE4P_TEMPLATESTYLE" val="11"/>
</p:tagLst>
</file>

<file path=ppt/tags/tag37.xml><?xml version="1.0" encoding="utf-8"?>
<p:tagLst xmlns:a="http://schemas.openxmlformats.org/drawingml/2006/main" xmlns:r="http://schemas.openxmlformats.org/officeDocument/2006/relationships" xmlns:p="http://schemas.openxmlformats.org/presentationml/2006/main">
  <p:tag name="EE4P_TEMPLATESTYLE" val="11"/>
</p:tagLst>
</file>

<file path=ppt/tags/tag38.xml><?xml version="1.0" encoding="utf-8"?>
<p:tagLst xmlns:a="http://schemas.openxmlformats.org/drawingml/2006/main" xmlns:r="http://schemas.openxmlformats.org/officeDocument/2006/relationships" xmlns:p="http://schemas.openxmlformats.org/presentationml/2006/main">
  <p:tag name="EE4P_TEMPLATESTYLE" val="11"/>
</p:tagLst>
</file>

<file path=ppt/tags/tag39.xml><?xml version="1.0" encoding="utf-8"?>
<p:tagLst xmlns:a="http://schemas.openxmlformats.org/drawingml/2006/main" xmlns:r="http://schemas.openxmlformats.org/officeDocument/2006/relationships" xmlns:p="http://schemas.openxmlformats.org/presentationml/2006/main">
  <p:tag name="EE4P_TEMPLATESTYLE" val="11"/>
</p:tagLst>
</file>

<file path=ppt/tags/tag4.xml><?xml version="1.0" encoding="utf-8"?>
<p:tagLst xmlns:a="http://schemas.openxmlformats.org/drawingml/2006/main" xmlns:r="http://schemas.openxmlformats.org/officeDocument/2006/relationships" xmlns:p="http://schemas.openxmlformats.org/presentationml/2006/main">
  <p:tag name="EE4P_TEMPLATESTYLE" val="11"/>
</p:tagLst>
</file>

<file path=ppt/tags/tag40.xml><?xml version="1.0" encoding="utf-8"?>
<p:tagLst xmlns:a="http://schemas.openxmlformats.org/drawingml/2006/main" xmlns:r="http://schemas.openxmlformats.org/officeDocument/2006/relationships" xmlns:p="http://schemas.openxmlformats.org/presentationml/2006/main">
  <p:tag name="EE4P_TEMPLATESTYLE" val="11"/>
</p:tagLst>
</file>

<file path=ppt/tags/tag41.xml><?xml version="1.0" encoding="utf-8"?>
<p:tagLst xmlns:a="http://schemas.openxmlformats.org/drawingml/2006/main" xmlns:r="http://schemas.openxmlformats.org/officeDocument/2006/relationships" xmlns:p="http://schemas.openxmlformats.org/presentationml/2006/main">
  <p:tag name="EE4P_TEMPLATESTYLE" val="11"/>
</p:tagLst>
</file>

<file path=ppt/tags/tag42.xml><?xml version="1.0" encoding="utf-8"?>
<p:tagLst xmlns:a="http://schemas.openxmlformats.org/drawingml/2006/main" xmlns:r="http://schemas.openxmlformats.org/officeDocument/2006/relationships" xmlns:p="http://schemas.openxmlformats.org/presentationml/2006/main">
  <p:tag name="EE4P_TEMPLATESTYLE" val="11"/>
</p:tagLst>
</file>

<file path=ppt/tags/tag43.xml><?xml version="1.0" encoding="utf-8"?>
<p:tagLst xmlns:a="http://schemas.openxmlformats.org/drawingml/2006/main" xmlns:r="http://schemas.openxmlformats.org/officeDocument/2006/relationships" xmlns:p="http://schemas.openxmlformats.org/presentationml/2006/main">
  <p:tag name="EE4P_TEMPLATESTYLE" val="11"/>
</p:tagLst>
</file>

<file path=ppt/tags/tag44.xml><?xml version="1.0" encoding="utf-8"?>
<p:tagLst xmlns:a="http://schemas.openxmlformats.org/drawingml/2006/main" xmlns:r="http://schemas.openxmlformats.org/officeDocument/2006/relationships" xmlns:p="http://schemas.openxmlformats.org/presentationml/2006/main">
  <p:tag name="EE4P_TEMPLATESTYLE" val="11"/>
</p:tagLst>
</file>

<file path=ppt/tags/tag45.xml><?xml version="1.0" encoding="utf-8"?>
<p:tagLst xmlns:a="http://schemas.openxmlformats.org/drawingml/2006/main" xmlns:r="http://schemas.openxmlformats.org/officeDocument/2006/relationships" xmlns:p="http://schemas.openxmlformats.org/presentationml/2006/main">
  <p:tag name="EE4P_TEMPLATESTYLE" val="11"/>
</p:tagLst>
</file>

<file path=ppt/tags/tag46.xml><?xml version="1.0" encoding="utf-8"?>
<p:tagLst xmlns:a="http://schemas.openxmlformats.org/drawingml/2006/main" xmlns:r="http://schemas.openxmlformats.org/officeDocument/2006/relationships" xmlns:p="http://schemas.openxmlformats.org/presentationml/2006/main">
  <p:tag name="EE4P_TEMPLATESTYLE" val="11"/>
</p:tagLst>
</file>

<file path=ppt/tags/tag47.xml><?xml version="1.0" encoding="utf-8"?>
<p:tagLst xmlns:a="http://schemas.openxmlformats.org/drawingml/2006/main" xmlns:r="http://schemas.openxmlformats.org/officeDocument/2006/relationships" xmlns:p="http://schemas.openxmlformats.org/presentationml/2006/main">
  <p:tag name="EE4P_TEMPLATESTYLE" val="11"/>
</p:tagLst>
</file>

<file path=ppt/tags/tag48.xml><?xml version="1.0" encoding="utf-8"?>
<p:tagLst xmlns:a="http://schemas.openxmlformats.org/drawingml/2006/main" xmlns:r="http://schemas.openxmlformats.org/officeDocument/2006/relationships" xmlns:p="http://schemas.openxmlformats.org/presentationml/2006/main">
  <p:tag name="EE4P_TEMPLATESTYLE" val="11"/>
</p:tagLst>
</file>

<file path=ppt/tags/tag49.xml><?xml version="1.0" encoding="utf-8"?>
<p:tagLst xmlns:a="http://schemas.openxmlformats.org/drawingml/2006/main" xmlns:r="http://schemas.openxmlformats.org/officeDocument/2006/relationships" xmlns:p="http://schemas.openxmlformats.org/presentationml/2006/main">
  <p:tag name="EE4P_TEMPLATESTYLE" val="11"/>
</p:tagLst>
</file>

<file path=ppt/tags/tag5.xml><?xml version="1.0" encoding="utf-8"?>
<p:tagLst xmlns:a="http://schemas.openxmlformats.org/drawingml/2006/main" xmlns:r="http://schemas.openxmlformats.org/officeDocument/2006/relationships" xmlns:p="http://schemas.openxmlformats.org/presentationml/2006/main">
  <p:tag name="EE4P_TEMPLATESTYLE" val="11"/>
</p:tagLst>
</file>

<file path=ppt/tags/tag50.xml><?xml version="1.0" encoding="utf-8"?>
<p:tagLst xmlns:a="http://schemas.openxmlformats.org/drawingml/2006/main" xmlns:r="http://schemas.openxmlformats.org/officeDocument/2006/relationships" xmlns:p="http://schemas.openxmlformats.org/presentationml/2006/main">
  <p:tag name="EE4P_TEMPLATESTYLE" val="11"/>
</p:tagLst>
</file>

<file path=ppt/tags/tag51.xml><?xml version="1.0" encoding="utf-8"?>
<p:tagLst xmlns:a="http://schemas.openxmlformats.org/drawingml/2006/main" xmlns:r="http://schemas.openxmlformats.org/officeDocument/2006/relationships" xmlns:p="http://schemas.openxmlformats.org/presentationml/2006/main">
  <p:tag name="EE4P_TEMPLATESTYLE" val="11"/>
</p:tagLst>
</file>

<file path=ppt/tags/tag52.xml><?xml version="1.0" encoding="utf-8"?>
<p:tagLst xmlns:a="http://schemas.openxmlformats.org/drawingml/2006/main" xmlns:r="http://schemas.openxmlformats.org/officeDocument/2006/relationships" xmlns:p="http://schemas.openxmlformats.org/presentationml/2006/main">
  <p:tag name="EE4P_TEMPLATESTYLE" val="11"/>
</p:tagLst>
</file>

<file path=ppt/tags/tag53.xml><?xml version="1.0" encoding="utf-8"?>
<p:tagLst xmlns:a="http://schemas.openxmlformats.org/drawingml/2006/main" xmlns:r="http://schemas.openxmlformats.org/officeDocument/2006/relationships" xmlns:p="http://schemas.openxmlformats.org/presentationml/2006/main">
  <p:tag name="EE4P_TEMPLATESTYLE" val="11"/>
</p:tagLst>
</file>

<file path=ppt/tags/tag54.xml><?xml version="1.0" encoding="utf-8"?>
<p:tagLst xmlns:a="http://schemas.openxmlformats.org/drawingml/2006/main" xmlns:r="http://schemas.openxmlformats.org/officeDocument/2006/relationships" xmlns:p="http://schemas.openxmlformats.org/presentationml/2006/main">
  <p:tag name="EE4P_TEMPLATESTYLE" val="11"/>
</p:tagLst>
</file>

<file path=ppt/tags/tag55.xml><?xml version="1.0" encoding="utf-8"?>
<p:tagLst xmlns:a="http://schemas.openxmlformats.org/drawingml/2006/main" xmlns:r="http://schemas.openxmlformats.org/officeDocument/2006/relationships" xmlns:p="http://schemas.openxmlformats.org/presentationml/2006/main">
  <p:tag name="EE4P_TEMPLATESTYLE" val="11"/>
</p:tagLst>
</file>

<file path=ppt/tags/tag56.xml><?xml version="1.0" encoding="utf-8"?>
<p:tagLst xmlns:a="http://schemas.openxmlformats.org/drawingml/2006/main" xmlns:r="http://schemas.openxmlformats.org/officeDocument/2006/relationships" xmlns:p="http://schemas.openxmlformats.org/presentationml/2006/main">
  <p:tag name="EE4P_TEMPLATESTYLE" val="11"/>
</p:tagLst>
</file>

<file path=ppt/tags/tag57.xml><?xml version="1.0" encoding="utf-8"?>
<p:tagLst xmlns:a="http://schemas.openxmlformats.org/drawingml/2006/main" xmlns:r="http://schemas.openxmlformats.org/officeDocument/2006/relationships" xmlns:p="http://schemas.openxmlformats.org/presentationml/2006/main">
  <p:tag name="EE4P_TEMPLATESTYLE" val="11"/>
</p:tagLst>
</file>

<file path=ppt/tags/tag58.xml><?xml version="1.0" encoding="utf-8"?>
<p:tagLst xmlns:a="http://schemas.openxmlformats.org/drawingml/2006/main" xmlns:r="http://schemas.openxmlformats.org/officeDocument/2006/relationships" xmlns:p="http://schemas.openxmlformats.org/presentationml/2006/main">
  <p:tag name="EE4P_TEMPLATESTYLE" val="11"/>
</p:tagLst>
</file>

<file path=ppt/tags/tag59.xml><?xml version="1.0" encoding="utf-8"?>
<p:tagLst xmlns:a="http://schemas.openxmlformats.org/drawingml/2006/main" xmlns:r="http://schemas.openxmlformats.org/officeDocument/2006/relationships" xmlns:p="http://schemas.openxmlformats.org/presentationml/2006/main">
  <p:tag name="EE4P_TEMPLATESTYLE" val="11"/>
</p:tagLst>
</file>

<file path=ppt/tags/tag6.xml><?xml version="1.0" encoding="utf-8"?>
<p:tagLst xmlns:a="http://schemas.openxmlformats.org/drawingml/2006/main" xmlns:r="http://schemas.openxmlformats.org/officeDocument/2006/relationships" xmlns:p="http://schemas.openxmlformats.org/presentationml/2006/main">
  <p:tag name="EE4P_TEMPLATESTYLE" val="11"/>
</p:tagLst>
</file>

<file path=ppt/tags/tag60.xml><?xml version="1.0" encoding="utf-8"?>
<p:tagLst xmlns:a="http://schemas.openxmlformats.org/drawingml/2006/main" xmlns:r="http://schemas.openxmlformats.org/officeDocument/2006/relationships" xmlns:p="http://schemas.openxmlformats.org/presentationml/2006/main">
  <p:tag name="EE4P_TEMPLATESTYLE" val="11"/>
</p:tagLst>
</file>

<file path=ppt/tags/tag61.xml><?xml version="1.0" encoding="utf-8"?>
<p:tagLst xmlns:a="http://schemas.openxmlformats.org/drawingml/2006/main" xmlns:r="http://schemas.openxmlformats.org/officeDocument/2006/relationships" xmlns:p="http://schemas.openxmlformats.org/presentationml/2006/main">
  <p:tag name="EE4P_TEMPLATESTYLE" val="11"/>
</p:tagLst>
</file>

<file path=ppt/tags/tag62.xml><?xml version="1.0" encoding="utf-8"?>
<p:tagLst xmlns:a="http://schemas.openxmlformats.org/drawingml/2006/main" xmlns:r="http://schemas.openxmlformats.org/officeDocument/2006/relationships" xmlns:p="http://schemas.openxmlformats.org/presentationml/2006/main">
  <p:tag name="EE4P_TEMPLATESTYLE" val="11"/>
</p:tagLst>
</file>

<file path=ppt/tags/tag63.xml><?xml version="1.0" encoding="utf-8"?>
<p:tagLst xmlns:a="http://schemas.openxmlformats.org/drawingml/2006/main" xmlns:r="http://schemas.openxmlformats.org/officeDocument/2006/relationships" xmlns:p="http://schemas.openxmlformats.org/presentationml/2006/main">
  <p:tag name="EE4P_TEMPLATESTYLE" val="11"/>
</p:tagLst>
</file>

<file path=ppt/tags/tag64.xml><?xml version="1.0" encoding="utf-8"?>
<p:tagLst xmlns:a="http://schemas.openxmlformats.org/drawingml/2006/main" xmlns:r="http://schemas.openxmlformats.org/officeDocument/2006/relationships" xmlns:p="http://schemas.openxmlformats.org/presentationml/2006/main">
  <p:tag name="EE4P_TEMPLATESTYLE" val="11"/>
</p:tagLst>
</file>

<file path=ppt/tags/tag65.xml><?xml version="1.0" encoding="utf-8"?>
<p:tagLst xmlns:a="http://schemas.openxmlformats.org/drawingml/2006/main" xmlns:r="http://schemas.openxmlformats.org/officeDocument/2006/relationships" xmlns:p="http://schemas.openxmlformats.org/presentationml/2006/main">
  <p:tag name="EE4P_TEMPLATESTYLE" val="11"/>
</p:tagLst>
</file>

<file path=ppt/tags/tag66.xml><?xml version="1.0" encoding="utf-8"?>
<p:tagLst xmlns:a="http://schemas.openxmlformats.org/drawingml/2006/main" xmlns:r="http://schemas.openxmlformats.org/officeDocument/2006/relationships" xmlns:p="http://schemas.openxmlformats.org/presentationml/2006/main">
  <p:tag name="EE4P_TEMPLATESTYLE" val="11"/>
</p:tagLst>
</file>

<file path=ppt/tags/tag67.xml><?xml version="1.0" encoding="utf-8"?>
<p:tagLst xmlns:a="http://schemas.openxmlformats.org/drawingml/2006/main" xmlns:r="http://schemas.openxmlformats.org/officeDocument/2006/relationships" xmlns:p="http://schemas.openxmlformats.org/presentationml/2006/main">
  <p:tag name="EE4P_TEMPLATESTYLE" val="11"/>
</p:tagLst>
</file>

<file path=ppt/tags/tag68.xml><?xml version="1.0" encoding="utf-8"?>
<p:tagLst xmlns:a="http://schemas.openxmlformats.org/drawingml/2006/main" xmlns:r="http://schemas.openxmlformats.org/officeDocument/2006/relationships" xmlns:p="http://schemas.openxmlformats.org/presentationml/2006/main">
  <p:tag name="EE4P_TEMPLATESTYLE" val="11"/>
</p:tagLst>
</file>

<file path=ppt/tags/tag69.xml><?xml version="1.0" encoding="utf-8"?>
<p:tagLst xmlns:a="http://schemas.openxmlformats.org/drawingml/2006/main" xmlns:r="http://schemas.openxmlformats.org/officeDocument/2006/relationships" xmlns:p="http://schemas.openxmlformats.org/presentationml/2006/main">
  <p:tag name="EE4P_TEMPLATESTYLE" val="11"/>
</p:tagLst>
</file>

<file path=ppt/tags/tag7.xml><?xml version="1.0" encoding="utf-8"?>
<p:tagLst xmlns:a="http://schemas.openxmlformats.org/drawingml/2006/main" xmlns:r="http://schemas.openxmlformats.org/officeDocument/2006/relationships" xmlns:p="http://schemas.openxmlformats.org/presentationml/2006/main">
  <p:tag name="EE4P_TEMPLATESTYLE" val="11"/>
</p:tagLst>
</file>

<file path=ppt/tags/tag70.xml><?xml version="1.0" encoding="utf-8"?>
<p:tagLst xmlns:a="http://schemas.openxmlformats.org/drawingml/2006/main" xmlns:r="http://schemas.openxmlformats.org/officeDocument/2006/relationships" xmlns:p="http://schemas.openxmlformats.org/presentationml/2006/main">
  <p:tag name="EE4P_TEMPLATESTYLE" val="11"/>
</p:tagLst>
</file>

<file path=ppt/tags/tag71.xml><?xml version="1.0" encoding="utf-8"?>
<p:tagLst xmlns:a="http://schemas.openxmlformats.org/drawingml/2006/main" xmlns:r="http://schemas.openxmlformats.org/officeDocument/2006/relationships" xmlns:p="http://schemas.openxmlformats.org/presentationml/2006/main">
  <p:tag name="EE4P_TEMPLATESTYLE" val="11"/>
</p:tagLst>
</file>

<file path=ppt/tags/tag72.xml><?xml version="1.0" encoding="utf-8"?>
<p:tagLst xmlns:a="http://schemas.openxmlformats.org/drawingml/2006/main" xmlns:r="http://schemas.openxmlformats.org/officeDocument/2006/relationships" xmlns:p="http://schemas.openxmlformats.org/presentationml/2006/main">
  <p:tag name="EE4P_TEMPLATESTYLE" val="11"/>
</p:tagLst>
</file>

<file path=ppt/tags/tag73.xml><?xml version="1.0" encoding="utf-8"?>
<p:tagLst xmlns:a="http://schemas.openxmlformats.org/drawingml/2006/main" xmlns:r="http://schemas.openxmlformats.org/officeDocument/2006/relationships" xmlns:p="http://schemas.openxmlformats.org/presentationml/2006/main">
  <p:tag name="EE4P_TEMPLATESTYLE" val="11"/>
</p:tagLst>
</file>

<file path=ppt/tags/tag74.xml><?xml version="1.0" encoding="utf-8"?>
<p:tagLst xmlns:a="http://schemas.openxmlformats.org/drawingml/2006/main" xmlns:r="http://schemas.openxmlformats.org/officeDocument/2006/relationships" xmlns:p="http://schemas.openxmlformats.org/presentationml/2006/main">
  <p:tag name="EE4P_TEMPLATESTYLE" val="11"/>
</p:tagLst>
</file>

<file path=ppt/tags/tag75.xml><?xml version="1.0" encoding="utf-8"?>
<p:tagLst xmlns:a="http://schemas.openxmlformats.org/drawingml/2006/main" xmlns:r="http://schemas.openxmlformats.org/officeDocument/2006/relationships" xmlns:p="http://schemas.openxmlformats.org/presentationml/2006/main">
  <p:tag name="EE4P_TEMPLATESTYLE" val="11"/>
</p:tagLst>
</file>

<file path=ppt/tags/tag76.xml><?xml version="1.0" encoding="utf-8"?>
<p:tagLst xmlns:a="http://schemas.openxmlformats.org/drawingml/2006/main" xmlns:r="http://schemas.openxmlformats.org/officeDocument/2006/relationships" xmlns:p="http://schemas.openxmlformats.org/presentationml/2006/main">
  <p:tag name="EE4P_TEMPLATESTYLE" val="11"/>
</p:tagLst>
</file>

<file path=ppt/tags/tag77.xml><?xml version="1.0" encoding="utf-8"?>
<p:tagLst xmlns:a="http://schemas.openxmlformats.org/drawingml/2006/main" xmlns:r="http://schemas.openxmlformats.org/officeDocument/2006/relationships" xmlns:p="http://schemas.openxmlformats.org/presentationml/2006/main">
  <p:tag name="EE4P_TEMPLATESTYLE" val="1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DrlSFyLfUON_xLDO4m6Q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QBrDynxIESisUmUn5APeg"/>
</p:tagLst>
</file>

<file path=ppt/tags/tag8.xml><?xml version="1.0" encoding="utf-8"?>
<p:tagLst xmlns:a="http://schemas.openxmlformats.org/drawingml/2006/main" xmlns:r="http://schemas.openxmlformats.org/officeDocument/2006/relationships" xmlns:p="http://schemas.openxmlformats.org/presentationml/2006/main">
  <p:tag name="EE4P_TEMPLATESTYLE" val="1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lL62ySZoU2JEY6uAw_u4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S.OgyRN.UKlrqvnob_cI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24VmrMAqC06emYKonBnXB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8r4iukBzEiUfjmWsYBO5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LUfIYVjxkeBbIt5ymKJk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DbWopukb0C36fV4F592L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VJAofsv.k2YZ6ZSnHBt.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eQ6RJEDukOMTJ8BDTdvj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WuK3HEQrkaFoKb5eiouc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5NC6eTYqyUCIiR_yCwciZQ"/>
</p:tagLst>
</file>

<file path=ppt/tags/tag9.xml><?xml version="1.0" encoding="utf-8"?>
<p:tagLst xmlns:a="http://schemas.openxmlformats.org/drawingml/2006/main" xmlns:r="http://schemas.openxmlformats.org/officeDocument/2006/relationships" xmlns:p="http://schemas.openxmlformats.org/presentationml/2006/main">
  <p:tag name="EE4P_TEMPLATESTYLE" val="11"/>
</p:tagLst>
</file>

<file path=ppt/theme/theme1.xml><?xml version="1.0" encoding="utf-8"?>
<a:theme xmlns:a="http://schemas.openxmlformats.org/drawingml/2006/main" name="Tema di Office">
  <a:themeElements>
    <a:clrScheme name="Impostazioni personalizzate 61">
      <a:dk1>
        <a:srgbClr val="000000"/>
      </a:dk1>
      <a:lt1>
        <a:srgbClr val="FFFFFF"/>
      </a:lt1>
      <a:dk2>
        <a:srgbClr val="999999"/>
      </a:dk2>
      <a:lt2>
        <a:srgbClr val="CCCCCC"/>
      </a:lt2>
      <a:accent1>
        <a:srgbClr val="00AFD0"/>
      </a:accent1>
      <a:accent2>
        <a:srgbClr val="74C9E3"/>
      </a:accent2>
      <a:accent3>
        <a:srgbClr val="3B8BCA"/>
      </a:accent3>
      <a:accent4>
        <a:srgbClr val="005095"/>
      </a:accent4>
      <a:accent5>
        <a:srgbClr val="9FCA79"/>
      </a:accent5>
      <a:accent6>
        <a:srgbClr val="9E3A8B"/>
      </a:accent6>
      <a:hlink>
        <a:srgbClr val="3B8BCA"/>
      </a:hlink>
      <a:folHlink>
        <a:srgbClr val="000000"/>
      </a:folHlink>
    </a:clrScheme>
    <a:fontScheme name="Personalizzato 1">
      <a:majorFont>
        <a:latin typeface="UniCredit"/>
        <a:ea typeface=""/>
        <a:cs typeface=""/>
      </a:majorFont>
      <a:minorFont>
        <a:latin typeface="UniCredit"/>
        <a:ea typeface=""/>
        <a:cs typeface=""/>
      </a:minorFont>
    </a:fontScheme>
    <a:fmtScheme name="Essenziale">
      <a:fillStyleLst>
        <a:solidFill>
          <a:schemeClr val="phClr"/>
        </a:solidFill>
        <a:gradFill rotWithShape="1">
          <a:gsLst>
            <a:gs pos="0">
              <a:schemeClr val="phClr">
                <a:tint val="60000"/>
                <a:satMod val="250000"/>
              </a:schemeClr>
            </a:gs>
            <a:gs pos="35000">
              <a:schemeClr val="phClr">
                <a:tint val="47000"/>
                <a:satMod val="275000"/>
              </a:schemeClr>
            </a:gs>
            <a:gs pos="100000">
              <a:schemeClr val="phClr">
                <a:tint val="25000"/>
                <a:satMod val="300000"/>
              </a:schemeClr>
            </a:gs>
          </a:gsLst>
          <a:lin ang="16200000" scaled="1"/>
        </a:gradFill>
        <a:solidFill>
          <a:schemeClr val="phClr">
            <a:satMod val="110000"/>
          </a:schemeClr>
        </a:solidFill>
      </a:fillStyleLst>
      <a:lnStyleLst>
        <a:ln w="12700" cap="flat" cmpd="sng" algn="ctr">
          <a:solidFill>
            <a:schemeClr val="phClr">
              <a:shade val="95000"/>
              <a:satMod val="105000"/>
            </a:schemeClr>
          </a:solidFill>
          <a:prstDash val="solid"/>
        </a:ln>
        <a:ln w="28575" cap="flat" cmpd="sng" algn="ctr">
          <a:solidFill>
            <a:schemeClr val="phClr"/>
          </a:solidFill>
          <a:prstDash val="solid"/>
        </a:ln>
        <a:ln w="41275" cap="flat" cmpd="sng" algn="ctr">
          <a:solidFill>
            <a:schemeClr val="phClr"/>
          </a:solidFill>
          <a:prstDash val="solid"/>
        </a:ln>
      </a:lnStyleLst>
      <a:effectStyleLst>
        <a:effectStyle>
          <a:effectLst/>
        </a:effectStyle>
        <a:effectStyle>
          <a:effectLst>
            <a:outerShdw blurRad="39999" dist="23000" algn="bl" rotWithShape="0">
              <a:srgbClr val="000000">
                <a:alpha val="40000"/>
              </a:srgbClr>
            </a:outerShdw>
          </a:effectLst>
        </a:effectStyle>
        <a:effectStyle>
          <a:effectLst>
            <a:outerShdw blurRad="38100" dist="19050" algn="bl" rotWithShape="0">
              <a:srgbClr val="000000">
                <a:alpha val="60000"/>
              </a:srgbClr>
            </a:outerShdw>
          </a:effectLst>
          <a:scene3d>
            <a:camera prst="orthographicFront">
              <a:rot lat="0" lon="0" rev="0"/>
            </a:camera>
            <a:lightRig rig="balanced" dir="l"/>
          </a:scene3d>
          <a:sp3d prstMaterial="plastic">
            <a:bevelT w="38100" h="3175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0AFD0"/>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rgbClr val="00AFD0"/>
          </a:solidFill>
        </a:ln>
      </a:spPr>
      <a:bodyPr/>
      <a:lstStyle/>
      <a:style>
        <a:lnRef idx="2">
          <a:schemeClr val="accent1"/>
        </a:lnRef>
        <a:fillRef idx="0">
          <a:schemeClr val="accent1"/>
        </a:fillRef>
        <a:effectRef idx="1">
          <a:schemeClr val="accent1"/>
        </a:effectRef>
        <a:fontRef idx="minor">
          <a:schemeClr val="tx1"/>
        </a:fontRef>
      </a:style>
    </a:lnDef>
    <a:txDef>
      <a:spPr bwMode="gray">
        <a:noFill/>
      </a:spPr>
      <a:bodyPr wrap="square" rtlCol="0">
        <a:spAutoFit/>
      </a:bodyPr>
      <a:lstStyle>
        <a:defPPr>
          <a:defRPr dirty="0"/>
        </a:defPPr>
      </a:lstStyle>
    </a:txDef>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326</TotalTime>
  <Words>557</Words>
  <Application>Microsoft Office PowerPoint</Application>
  <PresentationFormat>On-screen Show (16:9)</PresentationFormat>
  <Paragraphs>83</Paragraphs>
  <Slides>8</Slides>
  <Notes>4</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8</vt:i4>
      </vt:variant>
    </vt:vector>
  </HeadingPairs>
  <TitlesOfParts>
    <vt:vector size="14" baseType="lpstr">
      <vt:lpstr>Arial</vt:lpstr>
      <vt:lpstr>arial unicode ms</vt:lpstr>
      <vt:lpstr>UniCredit</vt:lpstr>
      <vt:lpstr>Wingdings</vt:lpstr>
      <vt:lpstr>ＭＳ Ｐゴシック</vt:lpstr>
      <vt:lpstr>Tema di Office</vt:lpstr>
      <vt:lpstr>PowerPoint Presentation</vt:lpstr>
      <vt:lpstr>PREZENTA UNICREDIT IN EUROPA</vt:lpstr>
      <vt:lpstr>Grupul UNICREDIT dispune de o prezenta relevanta in tarile in care activeaza…</vt:lpstr>
      <vt:lpstr>FONDURI EUROPENE – OPORTUNITATI PENTRU 2014 - 2020</vt:lpstr>
      <vt:lpstr>UNICREDIT – CEL MAI SCURT DRUM CATRE FONDURILE EUROPENE</vt:lpstr>
      <vt:lpstr>PRODUSE PENTRU FINANTAREA PROIECTELOR DIN FONDURI EUROPENE / NATIONALE</vt:lpstr>
      <vt:lpstr>UNICREDIT – CEL MAI SCURT DRUM CATRE FONDURILE EUROPENE</vt:lpstr>
      <vt:lpstr>PowerPoint Presentation</vt:lpstr>
    </vt:vector>
  </TitlesOfParts>
  <Company>Young Agency</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di PowerPoint</dc:title>
  <dc:creator>Elena</dc:creator>
  <cp:keywords>Public</cp:keywords>
  <cp:lastModifiedBy>Default2</cp:lastModifiedBy>
  <cp:revision>294</cp:revision>
  <cp:lastPrinted>2016-10-04T13:49:57Z</cp:lastPrinted>
  <dcterms:created xsi:type="dcterms:W3CDTF">2016-01-04T17:33:02Z</dcterms:created>
  <dcterms:modified xsi:type="dcterms:W3CDTF">2017-05-26T11:4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a6a4298c-902e-4bea-8dfd-adff9cbe7e2d</vt:lpwstr>
  </property>
  <property fmtid="{D5CDD505-2E9C-101B-9397-08002B2CF9AE}" pid="3" name="UniCreditCompany">
    <vt:lpwstr>UniCredit Bank</vt:lpwstr>
  </property>
  <property fmtid="{D5CDD505-2E9C-101B-9397-08002B2CF9AE}" pid="4" name="UniCreditClassification">
    <vt:lpwstr>Public</vt:lpwstr>
  </property>
</Properties>
</file>